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43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  <p:sldMasterId id="2147483726" r:id="rId6"/>
    <p:sldMasterId id="2147483705" r:id="rId7"/>
    <p:sldMasterId id="2147483713" r:id="rId8"/>
    <p:sldMasterId id="2147483719" r:id="rId9"/>
    <p:sldMasterId id="2147483721" r:id="rId10"/>
    <p:sldMasterId id="2147483723" r:id="rId11"/>
    <p:sldMasterId id="2147483717" r:id="rId12"/>
    <p:sldMasterId id="2147483715" r:id="rId13"/>
  </p:sldMasterIdLst>
  <p:notesMasterIdLst>
    <p:notesMasterId r:id="rId28"/>
  </p:notesMasterIdLst>
  <p:handoutMasterIdLst>
    <p:handoutMasterId r:id="rId29"/>
  </p:handoutMasterIdLst>
  <p:sldIdLst>
    <p:sldId id="562" r:id="rId14"/>
    <p:sldId id="580" r:id="rId15"/>
    <p:sldId id="599" r:id="rId16"/>
    <p:sldId id="600" r:id="rId17"/>
    <p:sldId id="611" r:id="rId18"/>
    <p:sldId id="603" r:id="rId19"/>
    <p:sldId id="604" r:id="rId20"/>
    <p:sldId id="612" r:id="rId21"/>
    <p:sldId id="606" r:id="rId22"/>
    <p:sldId id="613" r:id="rId23"/>
    <p:sldId id="614" r:id="rId24"/>
    <p:sldId id="615" r:id="rId25"/>
    <p:sldId id="616" r:id="rId26"/>
    <p:sldId id="617" r:id="rId27"/>
  </p:sldIdLst>
  <p:sldSz cx="12192000" cy="6858000"/>
  <p:notesSz cx="6797675" cy="9926638"/>
  <p:embeddedFontLst>
    <p:embeddedFont>
      <p:font typeface="Futura Bold" panose="00000900000000000000" pitchFamily="2" charset="0"/>
      <p:regular r:id="rId30"/>
      <p:boldItalic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Futura Medium" panose="00000400000000000000" pitchFamily="2" charset="0"/>
      <p:regular r:id="rId38"/>
      <p:bold r:id="rId39"/>
      <p:italic r:id="rId40"/>
      <p:boldItalic r:id="rId41"/>
    </p:embeddedFont>
  </p:embeddedFontLst>
  <p:custDataLst>
    <p:tags r:id="rId4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84" userDrawn="1">
          <p15:clr>
            <a:srgbClr val="C35EA4"/>
          </p15:clr>
        </p15:guide>
        <p15:guide id="3" orient="horz" pos="1152" userDrawn="1">
          <p15:clr>
            <a:srgbClr val="C35EA4"/>
          </p15:clr>
        </p15:guide>
        <p15:guide id="6" orient="horz" pos="1368" userDrawn="1">
          <p15:clr>
            <a:srgbClr val="547EBF"/>
          </p15:clr>
        </p15:guide>
        <p15:guide id="7" orient="horz" pos="2856" userDrawn="1">
          <p15:clr>
            <a:srgbClr val="547EBF"/>
          </p15:clr>
        </p15:guide>
        <p15:guide id="8" orient="horz" pos="3120" userDrawn="1">
          <p15:clr>
            <a:srgbClr val="547EBF"/>
          </p15:clr>
        </p15:guide>
        <p15:guide id="9" pos="3840" userDrawn="1">
          <p15:clr>
            <a:srgbClr val="A4A3A4"/>
          </p15:clr>
        </p15:guide>
        <p15:guide id="12" pos="4824" userDrawn="1">
          <p15:clr>
            <a:srgbClr val="547EBF"/>
          </p15:clr>
        </p15:guide>
        <p15:guide id="14" pos="2664" userDrawn="1">
          <p15:clr>
            <a:srgbClr val="C35EA4"/>
          </p15:clr>
        </p15:guide>
        <p15:guide id="18" pos="2736" userDrawn="1">
          <p15:clr>
            <a:srgbClr val="547EBF"/>
          </p15:clr>
        </p15:guide>
        <p15:guide id="19" orient="horz" pos="3816" userDrawn="1">
          <p15:clr>
            <a:srgbClr val="C35EA4"/>
          </p15:clr>
        </p15:guide>
        <p15:guide id="20" orient="horz" pos="3288" userDrawn="1">
          <p15:clr>
            <a:srgbClr val="547EBF"/>
          </p15:clr>
        </p15:guide>
        <p15:guide id="21" pos="240" userDrawn="1">
          <p15:clr>
            <a:srgbClr val="C35EA4"/>
          </p15:clr>
        </p15:guide>
        <p15:guide id="22" pos="2472" userDrawn="1">
          <p15:clr>
            <a:srgbClr val="C35EA4"/>
          </p15:clr>
        </p15:guide>
        <p15:guide id="23" pos="720" userDrawn="1">
          <p15:clr>
            <a:srgbClr val="C35EA4"/>
          </p15:clr>
        </p15:guide>
        <p15:guide id="24" orient="horz" pos="1584" userDrawn="1">
          <p15:clr>
            <a:srgbClr val="547EBF"/>
          </p15:clr>
        </p15:guide>
        <p15:guide id="25" pos="2400" userDrawn="1">
          <p15:clr>
            <a:srgbClr val="547EBF"/>
          </p15:clr>
        </p15:guide>
        <p15:guide id="26" pos="4896" userDrawn="1">
          <p15:clr>
            <a:srgbClr val="C35EA4"/>
          </p15:clr>
        </p15:guide>
        <p15:guide id="27" pos="5088" userDrawn="1">
          <p15:clr>
            <a:srgbClr val="C35EA4"/>
          </p15:clr>
        </p15:guide>
        <p15:guide id="29" pos="7320" userDrawn="1">
          <p15:clr>
            <a:srgbClr val="C35EA4"/>
          </p15:clr>
        </p15:guide>
        <p15:guide id="30" pos="5184" userDrawn="1">
          <p15:clr>
            <a:srgbClr val="547EBF"/>
          </p15:clr>
        </p15:guide>
        <p15:guide id="31" pos="7248" userDrawn="1">
          <p15:clr>
            <a:srgbClr val="547EBF"/>
          </p15:clr>
        </p15:guide>
        <p15:guide id="32" pos="3624" userDrawn="1">
          <p15:clr>
            <a:srgbClr val="9FCC3B"/>
          </p15:clr>
        </p15:guide>
        <p15:guide id="33" pos="3696" userDrawn="1">
          <p15:clr>
            <a:srgbClr val="9FCC3B"/>
          </p15:clr>
        </p15:guide>
        <p15:guide id="34" orient="horz" pos="39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D3C9"/>
    <a:srgbClr val="D9BCBA"/>
    <a:srgbClr val="E7C7CC"/>
    <a:srgbClr val="647376"/>
    <a:srgbClr val="6D7E81"/>
    <a:srgbClr val="89989B"/>
    <a:srgbClr val="919EA1"/>
    <a:srgbClr val="BDB8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49" autoAdjust="0"/>
    <p:restoredTop sz="71790" autoAdjust="0"/>
  </p:normalViewPr>
  <p:slideViewPr>
    <p:cSldViewPr snapToGrid="0" snapToObjects="1" showGuides="1">
      <p:cViewPr varScale="1">
        <p:scale>
          <a:sx n="49" d="100"/>
          <a:sy n="49" d="100"/>
        </p:scale>
        <p:origin x="1614" y="48"/>
      </p:cViewPr>
      <p:guideLst>
        <p:guide orient="horz" pos="2160"/>
        <p:guide orient="horz" pos="984"/>
        <p:guide orient="horz" pos="1152"/>
        <p:guide orient="horz" pos="1368"/>
        <p:guide orient="horz" pos="2856"/>
        <p:guide orient="horz" pos="3120"/>
        <p:guide pos="3840"/>
        <p:guide pos="4824"/>
        <p:guide pos="2664"/>
        <p:guide pos="2736"/>
        <p:guide orient="horz" pos="3816"/>
        <p:guide orient="horz" pos="3288"/>
        <p:guide pos="240"/>
        <p:guide pos="2472"/>
        <p:guide pos="720"/>
        <p:guide orient="horz" pos="1584"/>
        <p:guide pos="2400"/>
        <p:guide pos="4896"/>
        <p:guide pos="5088"/>
        <p:guide pos="7320"/>
        <p:guide pos="5184"/>
        <p:guide pos="7248"/>
        <p:guide pos="3624"/>
        <p:guide pos="3696"/>
        <p:guide orient="horz" pos="3960"/>
      </p:guideLst>
    </p:cSldViewPr>
  </p:slideViewPr>
  <p:outlineViewPr>
    <p:cViewPr>
      <p:scale>
        <a:sx n="33" d="100"/>
        <a:sy n="33" d="100"/>
      </p:scale>
      <p:origin x="0" y="-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-1464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1716" y="64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font" Target="fonts/font5.fntdata"/><Relationship Id="rId42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1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6.xml"/><Relationship Id="rId31" Type="http://schemas.openxmlformats.org/officeDocument/2006/relationships/font" Target="fonts/font2.fntdata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983421-34F6-4685-9C77-2DE3C6F7B768}" type="doc">
      <dgm:prSet loTypeId="urn:microsoft.com/office/officeart/2005/8/layout/chevron1" loCatId="process" qsTypeId="urn:microsoft.com/office/officeart/2005/8/quickstyle/simple3" qsCatId="simple" csTypeId="urn:microsoft.com/office/officeart/2005/8/colors/colorful4" csCatId="colorful" phldr="1"/>
      <dgm:spPr/>
    </dgm:pt>
    <dgm:pt modelId="{D9814B52-DB4F-4194-A17E-35B6BB70302D}">
      <dgm:prSet phldrT="[Text]" custT="1"/>
      <dgm:spPr/>
      <dgm:t>
        <a:bodyPr/>
        <a:lstStyle/>
        <a:p>
          <a:pPr algn="l" rtl="0"/>
          <a:r>
            <a:rPr lang="ru-RU" sz="2000" b="1" i="0" u="none" baseline="0" dirty="0">
              <a:latin typeface="Arial" panose="020B0604020202020204" pitchFamily="34" charset="0"/>
              <a:cs typeface="Arial" panose="020B0604020202020204" pitchFamily="34" charset="0"/>
            </a:rPr>
            <a:t>Этап </a:t>
          </a:r>
          <a:r>
            <a:rPr lang="ru-RU" sz="2000" b="1" i="0" u="none" baseline="0" dirty="0" err="1">
              <a:latin typeface="Arial" panose="020B0604020202020204" pitchFamily="34" charset="0"/>
              <a:cs typeface="Arial" panose="020B0604020202020204" pitchFamily="34" charset="0"/>
            </a:rPr>
            <a:t>pre-FEED</a:t>
          </a:r>
          <a:endParaRPr lang="ru-RU" sz="2000" b="1" i="0" u="none" baseline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3E855E-3525-46D4-8A23-5CA6799F52E3}" type="parTrans" cxnId="{447B7462-C1D5-489E-BE80-BD1506849B7C}">
      <dgm:prSet/>
      <dgm:spPr/>
      <dgm:t>
        <a:bodyPr/>
        <a:lstStyle/>
        <a:p>
          <a:endParaRPr lang="ru" sz="1050"/>
        </a:p>
      </dgm:t>
    </dgm:pt>
    <dgm:pt modelId="{C2083433-AF5D-4606-AA8B-C9F968F56D70}" type="sibTrans" cxnId="{447B7462-C1D5-489E-BE80-BD1506849B7C}">
      <dgm:prSet/>
      <dgm:spPr/>
      <dgm:t>
        <a:bodyPr/>
        <a:lstStyle/>
        <a:p>
          <a:endParaRPr lang="ru" sz="1050"/>
        </a:p>
      </dgm:t>
    </dgm:pt>
    <dgm:pt modelId="{DCF745AD-2181-4057-9745-F0D9CC96070B}">
      <dgm:prSet phldrT="[Text]" custT="1"/>
      <dgm:spPr/>
      <dgm:t>
        <a:bodyPr/>
        <a:lstStyle/>
        <a:p>
          <a:pPr algn="l" rtl="0"/>
          <a:r>
            <a:rPr lang="ru-RU" sz="2000" b="1" i="0" u="none" baseline="0" dirty="0">
              <a:latin typeface="Arial" panose="020B0604020202020204" pitchFamily="34" charset="0"/>
              <a:cs typeface="Arial" panose="020B0604020202020204" pitchFamily="34" charset="0"/>
            </a:rPr>
            <a:t>Этап реализации</a:t>
          </a:r>
          <a:endParaRPr lang="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6123CF-C56A-4934-91E0-E1923B294645}" type="parTrans" cxnId="{920B3673-B336-4666-980E-7F2585834A4D}">
      <dgm:prSet/>
      <dgm:spPr/>
      <dgm:t>
        <a:bodyPr/>
        <a:lstStyle/>
        <a:p>
          <a:endParaRPr lang="ru" sz="1050"/>
        </a:p>
      </dgm:t>
    </dgm:pt>
    <dgm:pt modelId="{4D904D05-8749-4894-8215-552281989140}" type="sibTrans" cxnId="{920B3673-B336-4666-980E-7F2585834A4D}">
      <dgm:prSet/>
      <dgm:spPr/>
      <dgm:t>
        <a:bodyPr/>
        <a:lstStyle/>
        <a:p>
          <a:endParaRPr lang="ru" sz="1050"/>
        </a:p>
      </dgm:t>
    </dgm:pt>
    <dgm:pt modelId="{FFDE2B34-35F8-4289-9181-DC10BBC7B7E2}">
      <dgm:prSet phldrT="[Text]" custT="1"/>
      <dgm:spPr/>
      <dgm:t>
        <a:bodyPr/>
        <a:lstStyle/>
        <a:p>
          <a:pPr algn="l" rtl="0"/>
          <a:r>
            <a:rPr lang="ru-RU" sz="2000" b="1" i="0" u="none" baseline="0" dirty="0">
              <a:latin typeface="Arial" panose="020B0604020202020204" pitchFamily="34" charset="0"/>
              <a:cs typeface="Arial" panose="020B0604020202020204" pitchFamily="34" charset="0"/>
            </a:rPr>
            <a:t>Этап </a:t>
          </a:r>
          <a:r>
            <a:rPr lang="ru-RU" sz="2000" b="1" i="0" u="none" baseline="0" dirty="0" err="1">
              <a:latin typeface="Arial" panose="020B0604020202020204" pitchFamily="34" charset="0"/>
              <a:cs typeface="Arial" panose="020B0604020202020204" pitchFamily="34" charset="0"/>
            </a:rPr>
            <a:t>FEED</a:t>
          </a:r>
          <a:r>
            <a:rPr lang="ru-RU" sz="2000" b="1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и </a:t>
          </a:r>
          <a:r>
            <a:rPr lang="ru-RU" sz="2000" b="1" i="0" u="none" baseline="0" dirty="0" err="1">
              <a:latin typeface="Arial" panose="020B0604020202020204" pitchFamily="34" charset="0"/>
              <a:cs typeface="Arial" panose="020B0604020202020204" pitchFamily="34" charset="0"/>
            </a:rPr>
            <a:t>ПД</a:t>
          </a:r>
          <a:endParaRPr lang="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5D042C6-7448-4535-B1F7-031A74FD2611}" type="parTrans" cxnId="{1B042806-94D2-4012-885C-0D332A59CDE3}">
      <dgm:prSet/>
      <dgm:spPr/>
      <dgm:t>
        <a:bodyPr/>
        <a:lstStyle/>
        <a:p>
          <a:endParaRPr lang="ru" sz="1050"/>
        </a:p>
      </dgm:t>
    </dgm:pt>
    <dgm:pt modelId="{42AED2BE-4335-4C37-9195-89234A1BCE5C}" type="sibTrans" cxnId="{1B042806-94D2-4012-885C-0D332A59CDE3}">
      <dgm:prSet/>
      <dgm:spPr/>
      <dgm:t>
        <a:bodyPr/>
        <a:lstStyle/>
        <a:p>
          <a:endParaRPr lang="ru" sz="1050"/>
        </a:p>
      </dgm:t>
    </dgm:pt>
    <dgm:pt modelId="{67435E92-C9D0-41E2-9535-4239E5835D0D}" type="pres">
      <dgm:prSet presAssocID="{4A983421-34F6-4685-9C77-2DE3C6F7B768}" presName="Name0" presStyleCnt="0">
        <dgm:presLayoutVars>
          <dgm:dir/>
          <dgm:animLvl val="lvl"/>
          <dgm:resizeHandles val="exact"/>
        </dgm:presLayoutVars>
      </dgm:prSet>
      <dgm:spPr/>
    </dgm:pt>
    <dgm:pt modelId="{F0DA64C7-388B-425A-B14B-EF526326E84E}" type="pres">
      <dgm:prSet presAssocID="{D9814B52-DB4F-4194-A17E-35B6BB70302D}" presName="parTxOnly" presStyleLbl="node1" presStyleIdx="0" presStyleCnt="3" custScaleX="149889" custLinFactNeighborX="-18879" custLinFactNeighborY="958">
        <dgm:presLayoutVars>
          <dgm:chMax val="0"/>
          <dgm:chPref val="0"/>
          <dgm:bulletEnabled val="1"/>
        </dgm:presLayoutVars>
      </dgm:prSet>
      <dgm:spPr/>
    </dgm:pt>
    <dgm:pt modelId="{1C9ED3BC-EC09-4F56-B7F8-A12D5490F23C}" type="pres">
      <dgm:prSet presAssocID="{C2083433-AF5D-4606-AA8B-C9F968F56D70}" presName="parTxOnlySpace" presStyleCnt="0"/>
      <dgm:spPr/>
    </dgm:pt>
    <dgm:pt modelId="{5F6CE6C9-FE30-4929-9348-38807D9264A2}" type="pres">
      <dgm:prSet presAssocID="{FFDE2B34-35F8-4289-9181-DC10BBC7B7E2}" presName="parTxOnly" presStyleLbl="node1" presStyleIdx="1" presStyleCnt="3" custScaleX="147139" custLinFactNeighborX="-3248">
        <dgm:presLayoutVars>
          <dgm:chMax val="0"/>
          <dgm:chPref val="0"/>
          <dgm:bulletEnabled val="1"/>
        </dgm:presLayoutVars>
      </dgm:prSet>
      <dgm:spPr/>
    </dgm:pt>
    <dgm:pt modelId="{3E2A5E3F-7D2F-49F5-ACF4-EDA0DCFF9C56}" type="pres">
      <dgm:prSet presAssocID="{42AED2BE-4335-4C37-9195-89234A1BCE5C}" presName="parTxOnlySpace" presStyleCnt="0"/>
      <dgm:spPr/>
    </dgm:pt>
    <dgm:pt modelId="{0D7532D4-8E7D-48D3-87F5-0C3D6AD33D9B}" type="pres">
      <dgm:prSet presAssocID="{DCF745AD-2181-4057-9745-F0D9CC96070B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1B042806-94D2-4012-885C-0D332A59CDE3}" srcId="{4A983421-34F6-4685-9C77-2DE3C6F7B768}" destId="{FFDE2B34-35F8-4289-9181-DC10BBC7B7E2}" srcOrd="1" destOrd="0" parTransId="{25D042C6-7448-4535-B1F7-031A74FD2611}" sibTransId="{42AED2BE-4335-4C37-9195-89234A1BCE5C}"/>
    <dgm:cxn modelId="{3EDAA340-D9BB-49AB-A8B2-7ED108A69A9C}" type="presOf" srcId="{FFDE2B34-35F8-4289-9181-DC10BBC7B7E2}" destId="{5F6CE6C9-FE30-4929-9348-38807D9264A2}" srcOrd="0" destOrd="0" presId="urn:microsoft.com/office/officeart/2005/8/layout/chevron1"/>
    <dgm:cxn modelId="{447B7462-C1D5-489E-BE80-BD1506849B7C}" srcId="{4A983421-34F6-4685-9C77-2DE3C6F7B768}" destId="{D9814B52-DB4F-4194-A17E-35B6BB70302D}" srcOrd="0" destOrd="0" parTransId="{653E855E-3525-46D4-8A23-5CA6799F52E3}" sibTransId="{C2083433-AF5D-4606-AA8B-C9F968F56D70}"/>
    <dgm:cxn modelId="{920B3673-B336-4666-980E-7F2585834A4D}" srcId="{4A983421-34F6-4685-9C77-2DE3C6F7B768}" destId="{DCF745AD-2181-4057-9745-F0D9CC96070B}" srcOrd="2" destOrd="0" parTransId="{536123CF-C56A-4934-91E0-E1923B294645}" sibTransId="{4D904D05-8749-4894-8215-552281989140}"/>
    <dgm:cxn modelId="{D4E7D1A0-2844-418B-91D2-5B0C6ADA4EBE}" type="presOf" srcId="{4A983421-34F6-4685-9C77-2DE3C6F7B768}" destId="{67435E92-C9D0-41E2-9535-4239E5835D0D}" srcOrd="0" destOrd="0" presId="urn:microsoft.com/office/officeart/2005/8/layout/chevron1"/>
    <dgm:cxn modelId="{278EF1BC-79B1-47C2-AE2E-86F5B04F5668}" type="presOf" srcId="{D9814B52-DB4F-4194-A17E-35B6BB70302D}" destId="{F0DA64C7-388B-425A-B14B-EF526326E84E}" srcOrd="0" destOrd="0" presId="urn:microsoft.com/office/officeart/2005/8/layout/chevron1"/>
    <dgm:cxn modelId="{E379ABD0-676D-4F78-8068-D61446DA3649}" type="presOf" srcId="{DCF745AD-2181-4057-9745-F0D9CC96070B}" destId="{0D7532D4-8E7D-48D3-87F5-0C3D6AD33D9B}" srcOrd="0" destOrd="0" presId="urn:microsoft.com/office/officeart/2005/8/layout/chevron1"/>
    <dgm:cxn modelId="{FC1B42FC-9265-4C68-AA69-13E7941092A9}" type="presParOf" srcId="{67435E92-C9D0-41E2-9535-4239E5835D0D}" destId="{F0DA64C7-388B-425A-B14B-EF526326E84E}" srcOrd="0" destOrd="0" presId="urn:microsoft.com/office/officeart/2005/8/layout/chevron1"/>
    <dgm:cxn modelId="{64E220CD-8059-4AFB-8909-5CE676E96576}" type="presParOf" srcId="{67435E92-C9D0-41E2-9535-4239E5835D0D}" destId="{1C9ED3BC-EC09-4F56-B7F8-A12D5490F23C}" srcOrd="1" destOrd="0" presId="urn:microsoft.com/office/officeart/2005/8/layout/chevron1"/>
    <dgm:cxn modelId="{F0680DD9-DD69-421A-BAE2-9F5FDC379F88}" type="presParOf" srcId="{67435E92-C9D0-41E2-9535-4239E5835D0D}" destId="{5F6CE6C9-FE30-4929-9348-38807D9264A2}" srcOrd="2" destOrd="0" presId="urn:microsoft.com/office/officeart/2005/8/layout/chevron1"/>
    <dgm:cxn modelId="{2CD77561-86FA-4416-A840-26B25EAC0C62}" type="presParOf" srcId="{67435E92-C9D0-41E2-9535-4239E5835D0D}" destId="{3E2A5E3F-7D2F-49F5-ACF4-EDA0DCFF9C56}" srcOrd="3" destOrd="0" presId="urn:microsoft.com/office/officeart/2005/8/layout/chevron1"/>
    <dgm:cxn modelId="{C85221AB-73CB-418E-A0D6-3A93A2BE3673}" type="presParOf" srcId="{67435E92-C9D0-41E2-9535-4239E5835D0D}" destId="{0D7532D4-8E7D-48D3-87F5-0C3D6AD33D9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DA64C7-388B-425A-B14B-EF526326E84E}">
      <dsp:nvSpPr>
        <dsp:cNvPr id="0" name=""/>
        <dsp:cNvSpPr/>
      </dsp:nvSpPr>
      <dsp:spPr>
        <a:xfrm>
          <a:off x="0" y="0"/>
          <a:ext cx="4439570" cy="497840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Этап </a:t>
          </a:r>
          <a:r>
            <a:rPr lang="ru-RU" sz="2000" b="1" i="0" u="none" kern="1200" baseline="0" dirty="0" err="1">
              <a:latin typeface="Arial" panose="020B0604020202020204" pitchFamily="34" charset="0"/>
              <a:cs typeface="Arial" panose="020B0604020202020204" pitchFamily="34" charset="0"/>
            </a:rPr>
            <a:t>pre-FEED</a:t>
          </a:r>
          <a:endParaRPr lang="ru-RU" sz="2000" b="1" i="0" u="none" kern="1200" baseline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48920" y="0"/>
        <a:ext cx="3941730" cy="497840"/>
      </dsp:txXfrm>
    </dsp:sp>
    <dsp:sp modelId="{5F6CE6C9-FE30-4929-9348-38807D9264A2}">
      <dsp:nvSpPr>
        <dsp:cNvPr id="0" name=""/>
        <dsp:cNvSpPr/>
      </dsp:nvSpPr>
      <dsp:spPr>
        <a:xfrm>
          <a:off x="4135772" y="0"/>
          <a:ext cx="4358117" cy="497840"/>
        </a:xfrm>
        <a:prstGeom prst="chevron">
          <a:avLst/>
        </a:prstGeom>
        <a:gradFill rotWithShape="0">
          <a:gsLst>
            <a:gs pos="0">
              <a:schemeClr val="accent4">
                <a:hueOff val="-4486351"/>
                <a:satOff val="19998"/>
                <a:lumOff val="686"/>
                <a:alphaOff val="0"/>
                <a:tint val="50000"/>
                <a:satMod val="300000"/>
              </a:schemeClr>
            </a:gs>
            <a:gs pos="35000">
              <a:schemeClr val="accent4">
                <a:hueOff val="-4486351"/>
                <a:satOff val="19998"/>
                <a:lumOff val="686"/>
                <a:alphaOff val="0"/>
                <a:tint val="37000"/>
                <a:satMod val="300000"/>
              </a:schemeClr>
            </a:gs>
            <a:gs pos="100000">
              <a:schemeClr val="accent4">
                <a:hueOff val="-4486351"/>
                <a:satOff val="19998"/>
                <a:lumOff val="68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Этап </a:t>
          </a:r>
          <a:r>
            <a:rPr lang="ru-RU" sz="2000" b="1" i="0" u="none" kern="1200" baseline="0" dirty="0" err="1">
              <a:latin typeface="Arial" panose="020B0604020202020204" pitchFamily="34" charset="0"/>
              <a:cs typeface="Arial" panose="020B0604020202020204" pitchFamily="34" charset="0"/>
            </a:rPr>
            <a:t>FEED</a:t>
          </a:r>
          <a:r>
            <a:rPr lang="ru-RU" sz="2000" b="1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и </a:t>
          </a:r>
          <a:r>
            <a:rPr lang="ru-RU" sz="2000" b="1" i="0" u="none" kern="1200" baseline="0" dirty="0" err="1">
              <a:latin typeface="Arial" panose="020B0604020202020204" pitchFamily="34" charset="0"/>
              <a:cs typeface="Arial" panose="020B0604020202020204" pitchFamily="34" charset="0"/>
            </a:rPr>
            <a:t>ПД</a:t>
          </a:r>
          <a:endParaRPr lang="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384692" y="0"/>
        <a:ext cx="3860277" cy="497840"/>
      </dsp:txXfrm>
    </dsp:sp>
    <dsp:sp modelId="{0D7532D4-8E7D-48D3-87F5-0C3D6AD33D9B}">
      <dsp:nvSpPr>
        <dsp:cNvPr id="0" name=""/>
        <dsp:cNvSpPr/>
      </dsp:nvSpPr>
      <dsp:spPr>
        <a:xfrm>
          <a:off x="8207319" y="0"/>
          <a:ext cx="2961905" cy="497840"/>
        </a:xfrm>
        <a:prstGeom prst="chevron">
          <a:avLst/>
        </a:prstGeom>
        <a:gradFill rotWithShape="0">
          <a:gsLst>
            <a:gs pos="0">
              <a:schemeClr val="accent4">
                <a:hueOff val="-8972703"/>
                <a:satOff val="39997"/>
                <a:lumOff val="1372"/>
                <a:alphaOff val="0"/>
                <a:tint val="50000"/>
                <a:satMod val="300000"/>
              </a:schemeClr>
            </a:gs>
            <a:gs pos="35000">
              <a:schemeClr val="accent4">
                <a:hueOff val="-8972703"/>
                <a:satOff val="39997"/>
                <a:lumOff val="1372"/>
                <a:alphaOff val="0"/>
                <a:tint val="37000"/>
                <a:satMod val="300000"/>
              </a:schemeClr>
            </a:gs>
            <a:gs pos="100000">
              <a:schemeClr val="accent4">
                <a:hueOff val="-8972703"/>
                <a:satOff val="39997"/>
                <a:lumOff val="137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Этап реализации</a:t>
          </a:r>
          <a:endParaRPr lang="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456239" y="0"/>
        <a:ext cx="2464065" cy="497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3/10/2018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3/10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2950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1" tIns="47425" rIns="94851" bIns="4742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4851" tIns="47425" rIns="94851" bIns="47425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7CE2E1-0C92-42E4-928A-8A0FDFE1DE03}" type="slidenum">
              <a:rPr lang="en-GB"/>
              <a:pPr/>
              <a:t>2</a:t>
            </a:fld>
            <a:endParaRPr lang="en-GB" dirty="0"/>
          </a:p>
        </p:txBody>
      </p:sp>
      <p:sp>
        <p:nvSpPr>
          <p:cNvPr id="92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714375"/>
            <a:ext cx="6100762" cy="3432175"/>
          </a:xfrm>
          <a:ln/>
        </p:spPr>
      </p:sp>
      <p:sp>
        <p:nvSpPr>
          <p:cNvPr id="921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60692"/>
            <a:ext cx="5032190" cy="4074074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762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848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E799493-6412-4470-9830-D005B358D66E}" type="slidenum">
              <a:rPr/>
              <a:pPr algn="l" rtl="0"/>
              <a:t>6</a:t>
            </a:fld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1535102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20B9C825-F38E-45BB-92C1-043DE61C9183}" type="slidenum">
              <a:rPr/>
              <a:pPr algn="l" rtl="0"/>
              <a:t>7</a:t>
            </a:fld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413152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E799493-6412-4470-9830-D005B358D66E}" type="slidenum">
              <a:rPr/>
              <a:pPr algn="l" rtl="0"/>
              <a:t>8</a:t>
            </a:fld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108710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61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E799493-6412-4470-9830-D005B358D66E}" type="slidenum">
              <a:rPr/>
              <a:pPr algn="l" rtl="0"/>
              <a:t>10</a:t>
            </a:fld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1466544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E799493-6412-4470-9830-D005B358D66E}" type="slidenum">
              <a:rPr/>
              <a:pPr algn="l" rtl="0"/>
              <a:t>11</a:t>
            </a:fld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7318016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367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E799493-6412-4470-9830-D005B358D66E}" type="slidenum">
              <a:rPr/>
              <a:pPr algn="l" rtl="0"/>
              <a:t>13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1441829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7" name="TextBox 26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5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2" name="TextBox 11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 dirty="0"/>
              <a:t>Click to edit Master title style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</p:spTree>
  </p:cSld>
  <p:clrMapOvr>
    <a:masterClrMapping/>
  </p:clrMapOvr>
  <p:transition/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7" name="TextBox 6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27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transition/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6" name="TextBox 5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s &amp; Cautio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8001" y="507999"/>
            <a:ext cx="2539992" cy="1016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301993" y="762000"/>
            <a:ext cx="8382000" cy="5080000"/>
          </a:xfrm>
        </p:spPr>
        <p:txBody>
          <a:bodyPr tIns="50800"/>
          <a:lstStyle>
            <a:lvl1pPr>
              <a:defRPr sz="1000" b="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definitions and cautionary note</a:t>
            </a:r>
            <a:endParaRPr lang="en-US"/>
          </a:p>
        </p:txBody>
      </p:sp>
      <p:sp>
        <p:nvSpPr>
          <p:cNvPr id="92" name="Text Placeholder 73"/>
          <p:cNvSpPr>
            <a:spLocks noGrp="1"/>
          </p:cNvSpPr>
          <p:nvPr>
            <p:ph type="body" sz="quarter" idx="14" hasCustomPrompt="1"/>
          </p:nvPr>
        </p:nvSpPr>
        <p:spPr>
          <a:xfrm>
            <a:off x="508010" y="6096000"/>
            <a:ext cx="11175983" cy="25400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bIns="25400" anchor="ctr"/>
          <a:lstStyle>
            <a:lvl1pPr>
              <a:defRPr lang="en-GB" sz="800" b="0" kern="1200" baseline="0" smtClean="0">
                <a:solidFill>
                  <a:schemeClr val="tx1"/>
                </a:solidFill>
                <a:latin typeface="+mn-lt"/>
                <a:ea typeface="ヒラギノ角ゴ Pro W3" charset="-128"/>
                <a:cs typeface="Arial" pitchFamily="34" charset="0"/>
              </a:defRPr>
            </a:lvl1pPr>
            <a:lvl2pPr>
              <a:defRPr lang="en-GB" sz="2300" kern="1200" smtClean="0">
                <a:solidFill>
                  <a:schemeClr val="tx1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2pPr>
            <a:lvl3pPr>
              <a:defRPr lang="en-GB" sz="2300" kern="1200" smtClean="0">
                <a:solidFill>
                  <a:schemeClr val="tx1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3pPr>
            <a:lvl4pPr>
              <a:defRPr lang="en-GB" sz="2300" smtClean="0">
                <a:latin typeface="Arial" pitchFamily="34" charset="0"/>
              </a:defRPr>
            </a:lvl4pPr>
            <a:lvl5pPr>
              <a:defRPr lang="en-US" sz="2300">
                <a:latin typeface="Arial" pitchFamily="34" charset="0"/>
              </a:defRPr>
            </a:lvl5pPr>
          </a:lstStyle>
          <a:p>
            <a:pPr lvl="0" defTabSz="873123" eaLnBrk="0" hangingPunct="0">
              <a:spcAft>
                <a:spcPct val="0"/>
              </a:spcAft>
            </a:pPr>
            <a:r>
              <a:rPr lang="en-GB"/>
              <a:t>Click to add notes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64836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s &amp; Cautio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2" name="Text Placeholder 73"/>
          <p:cNvSpPr>
            <a:spLocks noGrp="1"/>
          </p:cNvSpPr>
          <p:nvPr>
            <p:ph type="body" sz="quarter" idx="14" hasCustomPrompt="1"/>
          </p:nvPr>
        </p:nvSpPr>
        <p:spPr>
          <a:xfrm>
            <a:off x="508010" y="6096000"/>
            <a:ext cx="11175983" cy="25400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bIns="25400" anchor="ctr"/>
          <a:lstStyle>
            <a:lvl1pPr>
              <a:defRPr lang="en-GB" sz="800" b="0" kern="1200" baseline="0" smtClean="0">
                <a:solidFill>
                  <a:schemeClr val="tx1"/>
                </a:solidFill>
                <a:latin typeface="+mn-lt"/>
                <a:ea typeface="ヒラギノ角ゴ Pro W3" charset="-128"/>
                <a:cs typeface="Arial" pitchFamily="34" charset="0"/>
              </a:defRPr>
            </a:lvl1pPr>
            <a:lvl2pPr>
              <a:defRPr lang="en-GB" sz="2300" kern="1200" smtClean="0">
                <a:solidFill>
                  <a:schemeClr val="tx1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2pPr>
            <a:lvl3pPr>
              <a:defRPr lang="en-GB" sz="2300" kern="1200" smtClean="0">
                <a:solidFill>
                  <a:schemeClr val="tx1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3pPr>
            <a:lvl4pPr>
              <a:defRPr lang="en-GB" sz="2300" smtClean="0">
                <a:latin typeface="Arial" pitchFamily="34" charset="0"/>
              </a:defRPr>
            </a:lvl4pPr>
            <a:lvl5pPr>
              <a:defRPr lang="en-US" sz="2300">
                <a:latin typeface="Arial" pitchFamily="34" charset="0"/>
              </a:defRPr>
            </a:lvl5pPr>
          </a:lstStyle>
          <a:p>
            <a:pPr lvl="0" defTabSz="873123" eaLnBrk="0" hangingPunct="0">
              <a:spcAft>
                <a:spcPct val="0"/>
              </a:spcAft>
            </a:pPr>
            <a:r>
              <a:rPr lang="en-GB"/>
              <a:t>Click to add not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89397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72846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A63D7-8BA5-4143-A5B6-03C54F719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AF5672-A953-42E8-A63B-B076E0FEE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0A9395-7FCF-41DC-B1C8-EF82CFB98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0F10F-460B-4ABA-92C8-B27792C00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F2F4C-3A4D-4B61-87C6-E08D850A9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416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50CD1-2307-44D7-9FE1-EE2205FD0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E4DABE-6D03-4537-A55E-45810EDA7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2C8E5B-2327-4828-B4B2-C82D85B2E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6A21E-FDAB-4717-9E12-48CD7FD04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D8C134-300F-4134-936B-95A0FF396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185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4C769-5858-4EC4-85AD-96B247004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9615BF-B9CB-4630-952B-0210EB4E6A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7F2F7-E7EA-4B0F-90D9-B59AEEB90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871928-C710-430F-8E01-77E0F3C5D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BFD84-3BDD-4FF3-A486-5B3832A09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5292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49F61-9D8D-4B12-AE2B-A59FE3C1B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13896-BF13-4AEA-B00B-300F5F4D23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071DF9-CB17-4322-8A7D-376338D2F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B64EFC-5366-43CB-BF94-1DC9893CE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5A585-5484-4975-9BD6-69C9E9D3B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4E96D3-F2B4-460A-BA2B-21A0045F4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2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ED4D3-1A32-4D26-B44B-15115ADCE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C98FB0-AAEE-4496-AB21-8491BF9F81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2D39E4-8A18-45D7-980E-6543A02551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4F009C-88C1-4A4D-98E5-F1834F8215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D7F18E-593D-440B-BA7D-49CB48CCB7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685131-0907-45CA-A7C4-571AD5491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C329A9-23BE-49EC-8027-DA034E5B0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DFA80F-B6E9-4175-A3BF-9AAF6189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021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AEF673-BAFA-486F-9BED-67DE69E28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71A4D3-A7C4-40C5-8B2D-01FCD96FC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D80E49-2159-4CDD-AB76-77D8DF169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D6965F-AFDA-4AC8-8705-BAFBE8767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007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E7A1F1-BD7C-446E-9BEF-385AA74AF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BB7167-676F-487D-AAE9-3F87B0B40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29D586-BCB8-466A-8E16-F82051041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4711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F3F72-A24C-40A2-95BF-2435F2560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2FEC9-7964-46DC-8C22-492D9C39C8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E2855-128A-4CEF-89B4-05E346AB2C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AB67D2-3281-4D43-9C0C-F5900E98A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ABCD3D-D33C-4AAA-8C69-A8D661AA89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F50FB5-F355-4423-9601-D27BC981F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9715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170A8-D48F-4A45-82F5-E828FA10A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6833B3-5339-4F57-9FD9-5B0E08EB3F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1075D3-9929-4861-816C-3F0AAB011F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9722D2-9BB4-457C-BEB8-9098B13FE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5B4ACC-7FF2-4FCD-B41D-ECE06D6E4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F73FF6-66EF-4330-9F3C-1F98220FF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46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4F1B6-9727-401A-A210-864F5BD91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188D51-31EA-4B1C-92FD-CC05C4F60B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BE620-AE92-4D4C-B455-AE39528E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EAB1C9-A9A0-40E6-8ABC-CE73F4E0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E3220E-38F3-42C4-8015-288FFC22C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6460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830DAA-6D50-4D4D-B247-173C76C658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6DDAFC-878D-40F9-8C86-5F88B46DA5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772EC-BB4A-473F-82C1-A6E3E1274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603D33-0733-43AA-B940-B1ED5A795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25141-DB71-465C-9E13-51CECB621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884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951B9-DA85-4FAB-BBDF-55C484448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E9B7AF-2037-472E-A5D2-16BCAEDAC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46DC69-224D-4C69-B4DF-26F3B6647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69D24B-22B1-433B-B2B8-46EC1068E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409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E9D95D-6C2E-43FD-AA94-53C89F8F67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BCD9C9-C0B0-45CB-8B03-8334A9B2EA47}"/>
              </a:ext>
            </a:extLst>
          </p:cNvPr>
          <p:cNvSpPr txBox="1"/>
          <p:nvPr userDrawn="1"/>
        </p:nvSpPr>
        <p:spPr bwMode="auto">
          <a:xfrm>
            <a:off x="6041846" y="185530"/>
            <a:ext cx="5727837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/>
              <a:t>EXTERNAL ENVIRONMENT CREATING MORE OPPORTUNITIES FOR GAS AND LNG</a:t>
            </a:r>
          </a:p>
        </p:txBody>
      </p:sp>
    </p:spTree>
    <p:extLst>
      <p:ext uri="{BB962C8B-B14F-4D97-AF65-F5344CB8AC3E}">
        <p14:creationId xmlns:p14="http://schemas.microsoft.com/office/powerpoint/2010/main" val="380926466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E9D95D-6C2E-43FD-AA94-53C89F8F67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BCD9C9-C0B0-45CB-8B03-8334A9B2EA47}"/>
              </a:ext>
            </a:extLst>
          </p:cNvPr>
          <p:cNvSpPr txBox="1"/>
          <p:nvPr userDrawn="1"/>
        </p:nvSpPr>
        <p:spPr bwMode="auto">
          <a:xfrm>
            <a:off x="6041846" y="185530"/>
            <a:ext cx="5727837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/>
              <a:t>STRONG LNG FUNDAMENTALS EXCEEDED EXPECTATIONS IN 2017</a:t>
            </a:r>
          </a:p>
        </p:txBody>
      </p:sp>
    </p:spTree>
    <p:extLst>
      <p:ext uri="{BB962C8B-B14F-4D97-AF65-F5344CB8AC3E}">
        <p14:creationId xmlns:p14="http://schemas.microsoft.com/office/powerpoint/2010/main" val="26299863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E9D95D-6C2E-43FD-AA94-53C89F8F67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BCD9C9-C0B0-45CB-8B03-8334A9B2EA47}"/>
              </a:ext>
            </a:extLst>
          </p:cNvPr>
          <p:cNvSpPr txBox="1"/>
          <p:nvPr userDrawn="1"/>
        </p:nvSpPr>
        <p:spPr bwMode="auto">
          <a:xfrm>
            <a:off x="6041846" y="185530"/>
            <a:ext cx="5727837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/>
              <a:t>SUPPLY INVESTMENT REQUIRED TO MEET LONG-TERM DEMAND GROWTH</a:t>
            </a:r>
          </a:p>
        </p:txBody>
      </p:sp>
    </p:spTree>
    <p:extLst>
      <p:ext uri="{BB962C8B-B14F-4D97-AF65-F5344CB8AC3E}">
        <p14:creationId xmlns:p14="http://schemas.microsoft.com/office/powerpoint/2010/main" val="11119401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96896465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111462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68218E-BF9D-436E-9B04-CA179099F646}"/>
              </a:ext>
            </a:extLst>
          </p:cNvPr>
          <p:cNvSpPr txBox="1"/>
          <p:nvPr userDrawn="1"/>
        </p:nvSpPr>
        <p:spPr bwMode="auto">
          <a:xfrm>
            <a:off x="6041846" y="185530"/>
            <a:ext cx="5727837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/>
              <a:t>EXTERNAL ENVIRONMENT CREATING MORE OPPORTUNITIES FOR GAS AND LNG</a:t>
            </a:r>
          </a:p>
        </p:txBody>
      </p:sp>
    </p:spTree>
    <p:extLst>
      <p:ext uri="{BB962C8B-B14F-4D97-AF65-F5344CB8AC3E}">
        <p14:creationId xmlns:p14="http://schemas.microsoft.com/office/powerpoint/2010/main" val="2083882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048430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58701509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41689916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62225968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23952895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721F6-53B8-4386-9C7F-743D707BB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721" y="712800"/>
            <a:ext cx="11171238" cy="7540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BCE11-A2D4-49AA-B747-22AD5AB70D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24177" y="6573703"/>
            <a:ext cx="355564" cy="237600"/>
          </a:xfrm>
          <a:prstGeom prst="rect">
            <a:avLst/>
          </a:prstGeo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72582778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/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40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eg"/><Relationship Id="rId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1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jpeg"/><Relationship Id="rId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2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8.jpeg"/><Relationship Id="rId4" Type="http://schemas.openxmlformats.org/officeDocument/2006/relationships/tags" Target="../tags/tag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4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jpeg"/><Relationship Id="rId4" Type="http://schemas.openxmlformats.org/officeDocument/2006/relationships/tags" Target="../tags/tag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88551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17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703" r:id="rId18"/>
    <p:sldLayoutId id="2147483704" r:id="rId19"/>
    <p:sldLayoutId id="2147483725" r:id="rId20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6DDBF3-EFE6-4DD7-B724-AAC0DD27A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1D19DC-3BA4-4511-9634-CF2B7CB51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E4AF48-989F-4FAF-AFDC-0FB11B0B1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D06FBB-17E8-446E-8496-1982833793CB}" type="datetimeFigureOut">
              <a:rPr lang="en-US" smtClean="0"/>
              <a:t>10/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7D897A-304D-4C0E-8ADF-981F190DA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FDC2A2-AF21-4637-AB15-F2F50521B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82E7AA-1900-4E59-BC68-3C092E7DE1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14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553670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58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/>
              <a:t>SHELL LNG OUTLOOK 2018</a:t>
            </a:r>
          </a:p>
        </p:txBody>
      </p:sp>
    </p:spTree>
    <p:extLst>
      <p:ext uri="{BB962C8B-B14F-4D97-AF65-F5344CB8AC3E}">
        <p14:creationId xmlns:p14="http://schemas.microsoft.com/office/powerpoint/2010/main" val="2369235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1" r:id="rId5"/>
    <p:sldLayoutId id="2147483712" r:id="rId6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C4B882-BD41-4D7D-8BDC-6B977570E6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1" y="0"/>
            <a:ext cx="12189038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SHELL LNG OUTLOOK 2018</a:t>
            </a:r>
          </a:p>
        </p:txBody>
      </p:sp>
    </p:spTree>
    <p:extLst>
      <p:ext uri="{BB962C8B-B14F-4D97-AF65-F5344CB8AC3E}">
        <p14:creationId xmlns:p14="http://schemas.microsoft.com/office/powerpoint/2010/main" val="2000845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090192B-9C7F-4DA9-9DC5-59BD83B21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8" y="0"/>
            <a:ext cx="12192000" cy="6897873"/>
          </a:xfrm>
          <a:prstGeom prst="rect">
            <a:avLst/>
          </a:prstGeom>
          <a:ln>
            <a:noFill/>
          </a:ln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SHELL LNG OUTLOOK 2018</a:t>
            </a:r>
          </a:p>
        </p:txBody>
      </p:sp>
    </p:spTree>
    <p:extLst>
      <p:ext uri="{BB962C8B-B14F-4D97-AF65-F5344CB8AC3E}">
        <p14:creationId xmlns:p14="http://schemas.microsoft.com/office/powerpoint/2010/main" val="773281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7A18A3D-3F57-4F15-A8F8-C4AB8B56C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SHELL LNG OUTLOOK 2018</a:t>
            </a:r>
          </a:p>
        </p:txBody>
      </p:sp>
    </p:spTree>
    <p:extLst>
      <p:ext uri="{BB962C8B-B14F-4D97-AF65-F5344CB8AC3E}">
        <p14:creationId xmlns:p14="http://schemas.microsoft.com/office/powerpoint/2010/main" val="2621337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593E3E-CA4F-4C69-A953-00435673AB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" y="0"/>
            <a:ext cx="12188825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SHELL LNG OUTLOOK 2018</a:t>
            </a:r>
          </a:p>
        </p:txBody>
      </p:sp>
    </p:spTree>
    <p:extLst>
      <p:ext uri="{BB962C8B-B14F-4D97-AF65-F5344CB8AC3E}">
        <p14:creationId xmlns:p14="http://schemas.microsoft.com/office/powerpoint/2010/main" val="2250117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C89C3F-9888-42F6-9802-E33D712F35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5" y="1"/>
            <a:ext cx="12188826" cy="3429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1061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573703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796387-DA4B-46FD-B024-CAA48A2AF86D}"/>
              </a:ext>
            </a:extLst>
          </p:cNvPr>
          <p:cNvCxnSpPr/>
          <p:nvPr userDrawn="1"/>
        </p:nvCxnSpPr>
        <p:spPr>
          <a:xfrm>
            <a:off x="371061" y="477078"/>
            <a:ext cx="114490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5BFAB4-BB88-4700-B76F-2563479D4631}"/>
              </a:ext>
            </a:extLst>
          </p:cNvPr>
          <p:cNvSpPr txBox="1"/>
          <p:nvPr userDrawn="1"/>
        </p:nvSpPr>
        <p:spPr bwMode="auto">
          <a:xfrm>
            <a:off x="371881" y="185530"/>
            <a:ext cx="2265302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SHELL LNG OUTLOOK 2018</a:t>
            </a:r>
          </a:p>
        </p:txBody>
      </p:sp>
      <p:sp>
        <p:nvSpPr>
          <p:cNvPr id="13" name="Text Box 11" descr="&lt;COMPANY_NAME&gt;{18.70866,264.5669,509.3857,40.33535}">
            <a:extLst>
              <a:ext uri="{FF2B5EF4-FFF2-40B4-BE49-F238E27FC236}">
                <a16:creationId xmlns:a16="http://schemas.microsoft.com/office/drawing/2014/main" id="{278E3F77-1B0B-41C9-B255-F624E4C287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57370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Royal Dutch Shell plc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530C2B-9366-4744-8C0B-749ACD7B41CE}"/>
              </a:ext>
            </a:extLst>
          </p:cNvPr>
          <p:cNvSpPr txBox="1"/>
          <p:nvPr userDrawn="1"/>
        </p:nvSpPr>
        <p:spPr bwMode="auto">
          <a:xfrm>
            <a:off x="6041846" y="185530"/>
            <a:ext cx="5727837" cy="2330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200" dirty="0">
                <a:solidFill>
                  <a:schemeClr val="bg1"/>
                </a:solidFill>
              </a:rPr>
              <a:t>EXTERNAL ENVIRONMENT CREATING MORE OPPORTUNITIES FOR GAS AND LNG</a:t>
            </a:r>
          </a:p>
        </p:txBody>
      </p:sp>
    </p:spTree>
    <p:extLst>
      <p:ext uri="{BB962C8B-B14F-4D97-AF65-F5344CB8AC3E}">
        <p14:creationId xmlns:p14="http://schemas.microsoft.com/office/powerpoint/2010/main" val="1960374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BA900-330C-4196-9D45-E59F0F716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BA900-330C-4196-9D45-E59F0F71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09078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emf"/><Relationship Id="rId5" Type="http://schemas.openxmlformats.org/officeDocument/2006/relationships/hyperlink" Target="https://en.wikipedia.org/wiki/Shell_Oil_Company" TargetMode="Externa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en.wikipedia.org/wiki/Shell_Oil_Company" TargetMode="External"/><Relationship Id="rId5" Type="http://schemas.openxmlformats.org/officeDocument/2006/relationships/image" Target="../media/image23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1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B6DFD5-6833-4732-8B2E-1811CA135D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b="1" dirty="0">
                <a:latin typeface="Arial" panose="020B0604020202020204" pitchFamily="34" charset="0"/>
              </a:rPr>
              <a:t>Проект «Балтийский СПГ»</a:t>
            </a:r>
            <a:endParaRPr lang="en-US" b="1" dirty="0">
              <a:latin typeface="Arial" panose="020B060402020202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3A86C6B-D5D0-4652-97B9-DD49E0CFFA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5500" y="5120640"/>
            <a:ext cx="5688340" cy="37243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</a:rPr>
              <a:t>3 октября</a:t>
            </a:r>
            <a:r>
              <a:rPr lang="en-US" dirty="0">
                <a:latin typeface="Arial" panose="020B0604020202020204" pitchFamily="34" charset="0"/>
              </a:rPr>
              <a:t> 2018</a:t>
            </a:r>
            <a:r>
              <a:rPr lang="ru-RU" dirty="0">
                <a:latin typeface="Arial" panose="020B0604020202020204" pitchFamily="34" charset="0"/>
              </a:rPr>
              <a:t> г.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5C093E-E80A-450B-8B7F-3DEC123C84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5500" y="5714009"/>
            <a:ext cx="5187731" cy="237600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ндер Стегенг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ехнический директор по проектам СПГ в России, «Шелл»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pic>
        <p:nvPicPr>
          <p:cNvPr id="10" name="Picture Placeholder 2">
            <a:extLst>
              <a:ext uri="{FF2B5EF4-FFF2-40B4-BE49-F238E27FC236}">
                <a16:creationId xmlns:a16="http://schemas.microsoft.com/office/drawing/2014/main" id="{14238570-DAF2-4660-AA42-92F93632090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96" b="36696"/>
          <a:stretch/>
        </p:blipFill>
        <p:spPr/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A593339-22D7-4C08-813A-F7A8D5316538}"/>
              </a:ext>
            </a:extLst>
          </p:cNvPr>
          <p:cNvSpPr/>
          <p:nvPr/>
        </p:nvSpPr>
        <p:spPr>
          <a:xfrm>
            <a:off x="8515349" y="6387561"/>
            <a:ext cx="14573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157D06-50A5-4CB1-BCD7-56F85E4F548A}"/>
              </a:ext>
            </a:extLst>
          </p:cNvPr>
          <p:cNvSpPr/>
          <p:nvPr/>
        </p:nvSpPr>
        <p:spPr>
          <a:xfrm>
            <a:off x="585787" y="6387561"/>
            <a:ext cx="1328738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171601826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CCCBF-355D-4EDC-89CB-765DBE79F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рограмма аттестации, развития потенциала и аккредитации поставщиков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BB5DF-DAE4-4D9E-BF7F-BEC527D5B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59039"/>
            <a:ext cx="355564" cy="237600"/>
          </a:xfrm>
        </p:spPr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10</a:t>
            </a:fld>
            <a:endParaRPr lang="ru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3E192F-E8C6-4ABC-956F-56389C91937A}"/>
              </a:ext>
            </a:extLst>
          </p:cNvPr>
          <p:cNvSpPr txBox="1"/>
          <p:nvPr/>
        </p:nvSpPr>
        <p:spPr bwMode="auto">
          <a:xfrm>
            <a:off x="641028" y="1424372"/>
            <a:ext cx="6968083" cy="46966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В проекте "Балтийский </a:t>
            </a:r>
            <a:r>
              <a:rPr lang="ru-RU" sz="18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 предусматривается реализация упорядоченной программы развития потенциала и аттестации поставщиков:</a:t>
            </a:r>
          </a:p>
          <a:p>
            <a:pPr marL="201613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lvl="1" indent="84138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Критерии оценки нетехнического характера</a:t>
            </a:r>
          </a:p>
          <a:p>
            <a:pPr marL="811198" lvl="1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198" lvl="1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-RU" sz="1800" b="0" i="0" u="none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9263" lvl="1" indent="-177800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Критерии оценки технического характера</a:t>
            </a:r>
          </a:p>
          <a:p>
            <a:pPr marL="811198" lvl="1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198" lvl="1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4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в качестве основы платформы регистрации и оценки поставщиков "</a:t>
            </a:r>
            <a:r>
              <a:rPr lang="ru-RU" sz="14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Интергазсерт</a:t>
            </a:r>
            <a:r>
              <a:rPr lang="ru-RU" sz="14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, имеющейся в РФ (Газпром), но расширенной и адаптированной с учетом конкретных требований </a:t>
            </a:r>
            <a:r>
              <a:rPr lang="ru-RU" sz="14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sz="14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 и концерна "Шелл" в рамках проекта "Балтийский </a:t>
            </a:r>
            <a:r>
              <a:rPr lang="ru-RU" sz="14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4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80A2D17-275D-4DC8-A9D6-C681EE26E6A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62307" y="5135629"/>
            <a:ext cx="3571802" cy="1132352"/>
          </a:xfrm>
          <a:prstGeom prst="rect">
            <a:avLst/>
          </a:prstGeom>
        </p:spPr>
      </p:pic>
      <p:grpSp>
        <p:nvGrpSpPr>
          <p:cNvPr id="4" name="Group 18">
            <a:extLst>
              <a:ext uri="{FF2B5EF4-FFF2-40B4-BE49-F238E27FC236}">
                <a16:creationId xmlns:a16="http://schemas.microsoft.com/office/drawing/2014/main" id="{D508BB8C-2674-483E-8C5A-D52E1D9C8CEC}"/>
              </a:ext>
            </a:extLst>
          </p:cNvPr>
          <p:cNvGrpSpPr/>
          <p:nvPr/>
        </p:nvGrpSpPr>
        <p:grpSpPr>
          <a:xfrm>
            <a:off x="8664819" y="2517430"/>
            <a:ext cx="2278484" cy="752475"/>
            <a:chOff x="5495655" y="1101262"/>
            <a:chExt cx="1848904" cy="59431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DABA05F-50C5-42C8-A6D0-7869FA2EC010}"/>
                </a:ext>
              </a:extLst>
            </p:cNvPr>
            <p:cNvSpPr/>
            <p:nvPr/>
          </p:nvSpPr>
          <p:spPr>
            <a:xfrm>
              <a:off x="6718328" y="1120618"/>
              <a:ext cx="626231" cy="574957"/>
            </a:xfrm>
            <a:prstGeom prst="ellipse">
              <a:avLst/>
            </a:pr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5"/>
                  </a:ext>
                </a:extLst>
              </a:blip>
              <a:srcRect/>
              <a:stretch>
                <a:fillRect l="-4000" r="-4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pic>
          <p:nvPicPr>
            <p:cNvPr id="21" name="Рисунок 85">
              <a:extLst>
                <a:ext uri="{FF2B5EF4-FFF2-40B4-BE49-F238E27FC236}">
                  <a16:creationId xmlns:a16="http://schemas.microsoft.com/office/drawing/2014/main" id="{B71FCC5B-CE29-4E15-8415-27B1D263B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495655" y="1101262"/>
              <a:ext cx="985642" cy="485523"/>
            </a:xfrm>
            <a:prstGeom prst="rect">
              <a:avLst/>
            </a:prstGeom>
            <a:noFill/>
          </p:spPr>
        </p:pic>
      </p:grpSp>
      <p:grpSp>
        <p:nvGrpSpPr>
          <p:cNvPr id="5" name="Group 23">
            <a:extLst>
              <a:ext uri="{FF2B5EF4-FFF2-40B4-BE49-F238E27FC236}">
                <a16:creationId xmlns:a16="http://schemas.microsoft.com/office/drawing/2014/main" id="{26E01940-81C6-437F-BE59-4AE73A53B464}"/>
              </a:ext>
            </a:extLst>
          </p:cNvPr>
          <p:cNvGrpSpPr/>
          <p:nvPr/>
        </p:nvGrpSpPr>
        <p:grpSpPr>
          <a:xfrm>
            <a:off x="5070097" y="3080165"/>
            <a:ext cx="2720166" cy="1089467"/>
            <a:chOff x="4840576" y="3405407"/>
            <a:chExt cx="2720166" cy="1089467"/>
          </a:xfrm>
        </p:grpSpPr>
        <p:sp>
          <p:nvSpPr>
            <p:cNvPr id="22" name="Arrow: Right 21">
              <a:extLst>
                <a:ext uri="{FF2B5EF4-FFF2-40B4-BE49-F238E27FC236}">
                  <a16:creationId xmlns:a16="http://schemas.microsoft.com/office/drawing/2014/main" id="{E2E511EB-EF0E-4866-9324-7F000B2496CF}"/>
                </a:ext>
              </a:extLst>
            </p:cNvPr>
            <p:cNvSpPr/>
            <p:nvPr/>
          </p:nvSpPr>
          <p:spPr>
            <a:xfrm rot="10800000">
              <a:off x="4840576" y="3405407"/>
              <a:ext cx="2720166" cy="1089467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ctr" rtl="0"/>
              <a:endParaRPr lang="ru" sz="16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250ADB0-C316-4E1D-882D-FDBFC098C683}"/>
                </a:ext>
              </a:extLst>
            </p:cNvPr>
            <p:cNvSpPr txBox="1"/>
            <p:nvPr/>
          </p:nvSpPr>
          <p:spPr bwMode="auto">
            <a:xfrm>
              <a:off x="5260312" y="3746539"/>
              <a:ext cx="1890261" cy="30521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defTabSz="357708" rtl="0">
                <a:lnSpc>
                  <a:spcPct val="140000"/>
                </a:lnSpc>
                <a:buClr>
                  <a:schemeClr val="accent2"/>
                </a:buClr>
                <a:buSzPct val="85000"/>
              </a:pPr>
              <a:r>
                <a:rPr lang="ru-RU" sz="1600" b="0" i="0" u="none" baseline="0" dirty="0">
                  <a:latin typeface="Arial" panose="020B0604020202020204" pitchFamily="34" charset="0"/>
                  <a:cs typeface="Arial" panose="020B0604020202020204" pitchFamily="34" charset="0"/>
                </a:rPr>
                <a:t>Опыт работы с </a:t>
              </a:r>
              <a:r>
                <a:rPr lang="ru-RU" sz="1600" b="0" i="0" u="none" baseline="0" dirty="0" err="1">
                  <a:latin typeface="Arial" panose="020B0604020202020204" pitchFamily="34" charset="0"/>
                  <a:cs typeface="Arial" panose="020B0604020202020204" pitchFamily="34" charset="0"/>
                </a:rPr>
                <a:t>СПГ</a:t>
              </a:r>
              <a:endPara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24">
            <a:extLst>
              <a:ext uri="{FF2B5EF4-FFF2-40B4-BE49-F238E27FC236}">
                <a16:creationId xmlns:a16="http://schemas.microsoft.com/office/drawing/2014/main" id="{7EB46AB1-F062-495E-AC5A-9556728272C7}"/>
              </a:ext>
            </a:extLst>
          </p:cNvPr>
          <p:cNvGrpSpPr/>
          <p:nvPr/>
        </p:nvGrpSpPr>
        <p:grpSpPr>
          <a:xfrm>
            <a:off x="5070097" y="1992461"/>
            <a:ext cx="2720166" cy="1089467"/>
            <a:chOff x="4840576" y="3405407"/>
            <a:chExt cx="2720166" cy="1089467"/>
          </a:xfrm>
        </p:grpSpPr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17CFA6DA-94BF-4173-8288-D27E42F286F1}"/>
                </a:ext>
              </a:extLst>
            </p:cNvPr>
            <p:cNvSpPr/>
            <p:nvPr/>
          </p:nvSpPr>
          <p:spPr>
            <a:xfrm rot="10800000">
              <a:off x="4840576" y="3405407"/>
              <a:ext cx="2720166" cy="1089467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>
                  <a:rot lat="0" lon="0" rev="0"/>
                </a:camera>
                <a:lightRig rig="threePt" dir="t"/>
              </a:scene3d>
            </a:bodyPr>
            <a:lstStyle/>
            <a:p>
              <a:pPr algn="ctr" rtl="0"/>
              <a:endParaRPr lang="ru" sz="16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8C97538-EED9-4E9F-AEB8-3D4B79C544C4}"/>
                </a:ext>
              </a:extLst>
            </p:cNvPr>
            <p:cNvSpPr txBox="1"/>
            <p:nvPr/>
          </p:nvSpPr>
          <p:spPr bwMode="auto">
            <a:xfrm>
              <a:off x="5683662" y="3746539"/>
              <a:ext cx="65" cy="3107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defTabSz="357708" rtl="0">
                <a:lnSpc>
                  <a:spcPct val="140000"/>
                </a:lnSpc>
                <a:buClr>
                  <a:schemeClr val="accent2"/>
                </a:buClr>
                <a:buSzPct val="85000"/>
              </a:pPr>
              <a:endParaRPr lang="ru" sz="1600" dirty="0"/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0565AB8-4A80-42A1-83DB-C224E4968487}"/>
              </a:ext>
            </a:extLst>
          </p:cNvPr>
          <p:cNvSpPr/>
          <p:nvPr/>
        </p:nvSpPr>
        <p:spPr>
          <a:xfrm>
            <a:off x="7846142" y="2270924"/>
            <a:ext cx="570271" cy="1592826"/>
          </a:xfrm>
          <a:custGeom>
            <a:avLst/>
            <a:gdLst>
              <a:gd name="connsiteX0" fmla="*/ 9832 w 570271"/>
              <a:gd name="connsiteY0" fmla="*/ 0 h 1592826"/>
              <a:gd name="connsiteX1" fmla="*/ 0 w 570271"/>
              <a:gd name="connsiteY1" fmla="*/ 1592826 h 1592826"/>
              <a:gd name="connsiteX2" fmla="*/ 570271 w 570271"/>
              <a:gd name="connsiteY2" fmla="*/ 766916 h 1592826"/>
              <a:gd name="connsiteX3" fmla="*/ 9832 w 570271"/>
              <a:gd name="connsiteY3" fmla="*/ 0 h 1592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271" h="1592826">
                <a:moveTo>
                  <a:pt x="9832" y="0"/>
                </a:moveTo>
                <a:cubicBezTo>
                  <a:pt x="6555" y="530942"/>
                  <a:pt x="3277" y="1061884"/>
                  <a:pt x="0" y="1592826"/>
                </a:cubicBezTo>
                <a:lnTo>
                  <a:pt x="570271" y="766916"/>
                </a:lnTo>
                <a:lnTo>
                  <a:pt x="98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C24305-0FDE-402F-ADD5-A48A3684F6C8}"/>
              </a:ext>
            </a:extLst>
          </p:cNvPr>
          <p:cNvSpPr txBox="1"/>
          <p:nvPr/>
        </p:nvSpPr>
        <p:spPr bwMode="auto">
          <a:xfrm>
            <a:off x="5314255" y="2376969"/>
            <a:ext cx="2466637" cy="2289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357708" rtl="0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Опыт коммерческой деятельности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C8B853-8A6A-4AFC-B456-55FA96F6D0B3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35932106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B64E8E-B5A7-46CC-BCE4-DBA258753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585795"/>
            <a:ext cx="11171238" cy="752475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оваторский подход к подбору (закупке) оборудования и материалов для завода </a:t>
            </a:r>
            <a:r>
              <a:rPr lang="ru-RU" b="1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в РФ</a:t>
            </a:r>
            <a:br>
              <a:rPr lang="ru-RU" dirty="0"/>
            </a:br>
            <a:endParaRPr lang="ru" dirty="0"/>
          </a:p>
        </p:txBody>
      </p:sp>
      <p:sp>
        <p:nvSpPr>
          <p:cNvPr id="7" name="Rectangle 6" descr="&lt;Shell Yellow Bar&gt;">
            <a:extLst>
              <a:ext uri="{FF2B5EF4-FFF2-40B4-BE49-F238E27FC236}">
                <a16:creationId xmlns:a16="http://schemas.microsoft.com/office/drawing/2014/main" id="{895801B7-434B-40A6-9E86-6FECD777AC62}"/>
              </a:ext>
            </a:extLst>
          </p:cNvPr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" sz="2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D74AEA-DE8B-4E7C-AD5C-6611274FA0B7}"/>
              </a:ext>
            </a:extLst>
          </p:cNvPr>
          <p:cNvSpPr/>
          <p:nvPr/>
        </p:nvSpPr>
        <p:spPr>
          <a:xfrm>
            <a:off x="508001" y="1980101"/>
            <a:ext cx="3417824" cy="5587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8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ие опросные листы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D56B9D-DD91-433C-A79C-D81E4BC4E666}"/>
              </a:ext>
            </a:extLst>
          </p:cNvPr>
          <p:cNvSpPr/>
          <p:nvPr/>
        </p:nvSpPr>
        <p:spPr>
          <a:xfrm>
            <a:off x="3296093" y="3338623"/>
            <a:ext cx="8111278" cy="335988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t" anchorCtr="0"/>
          <a:lstStyle/>
          <a:p>
            <a:pPr algn="ctr" defTabSz="914400" rtl="0">
              <a:lnSpc>
                <a:spcPts val="1600"/>
              </a:lnSpc>
              <a:spcAft>
                <a:spcPts val="600"/>
              </a:spcAft>
              <a:defRPr/>
            </a:pPr>
            <a:r>
              <a:rPr lang="ru-RU" sz="14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монизация стандартов – способ стабилизации поставок в РФ и снижения проектных рисков:</a:t>
            </a:r>
            <a:endParaRPr lang="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ая справка: закупка материалов для проектов </a:t>
            </a:r>
            <a:r>
              <a:rPr lang="ru-RU" sz="1400" b="0" i="0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РФ осуществляется по опросным листам (</a:t>
            </a:r>
            <a:r>
              <a:rPr lang="ru-RU" sz="1400" b="0" i="0" u="sng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ам</a:t>
            </a:r>
            <a:r>
              <a:rPr lang="ru-RU" sz="1400" b="0" i="0" u="sng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проса данных на оборудование</a:t>
            </a: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составленным на базе стандартов Заказчика и международных стандартов. Российские производители плохо знакомы с этими условиями.</a:t>
            </a: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ные листы проекта "Балтийский </a:t>
            </a:r>
            <a:r>
              <a:rPr lang="ru-RU" sz="1400" b="0" i="0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: в рамках подхода к закупке, принятого проектом, предусматривается определение требований с максимальным учетом российских стандартов. Эти условия лучше знакомы российским поставщикам, поэтому способствуют их максимальному участию.</a:t>
            </a: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техническим стандартам, требования РФ и специальные требования являются неотъемлемой частью программы аттестации и квалификации поставщиков для проекта "Балтийский </a:t>
            </a:r>
            <a:r>
              <a:rPr lang="ru-RU" sz="1400" b="0" i="0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4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. Предусматривается взаимодействие с производителями на ранних этапах проекта с целью стимулирования их потенциала.</a:t>
            </a: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endParaRPr lang="ru" sz="1400" dirty="0">
              <a:solidFill>
                <a:schemeClr val="tx1"/>
              </a:solidFill>
            </a:endParaRP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endParaRPr lang="ru" sz="1400" dirty="0">
              <a:solidFill>
                <a:schemeClr val="tx1"/>
              </a:solidFill>
            </a:endParaRPr>
          </a:p>
          <a:p>
            <a:pPr marL="342900" indent="-342900" algn="l" defTabSz="914400" rtl="0">
              <a:spcAft>
                <a:spcPts val="600"/>
              </a:spcAft>
              <a:buAutoNum type="arabicPeriod"/>
              <a:defRPr/>
            </a:pPr>
            <a:endParaRPr lang="ru" sz="1400" dirty="0">
              <a:solidFill>
                <a:schemeClr val="tx1"/>
              </a:solidFill>
            </a:endParaRPr>
          </a:p>
          <a:p>
            <a:pPr algn="l" defTabSz="914400" rtl="0">
              <a:lnSpc>
                <a:spcPts val="1600"/>
              </a:lnSpc>
              <a:spcAft>
                <a:spcPts val="600"/>
              </a:spcAft>
              <a:defRPr/>
            </a:pPr>
            <a:endParaRPr lang="ru" sz="1400" dirty="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150BEC-B535-4EDC-A593-69EC3487D9E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43002" y="1324733"/>
            <a:ext cx="845340" cy="57495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4736B74-DF5D-4E38-837E-C83AF7249AFB}"/>
              </a:ext>
            </a:extLst>
          </p:cNvPr>
          <p:cNvSpPr/>
          <p:nvPr/>
        </p:nvSpPr>
        <p:spPr>
          <a:xfrm>
            <a:off x="508010" y="2527313"/>
            <a:ext cx="3417816" cy="558795"/>
          </a:xfrm>
          <a:prstGeom prst="rect">
            <a:avLst/>
          </a:prstGeom>
          <a:solidFill>
            <a:srgbClr val="008443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ы РФ/ </a:t>
            </a:r>
            <a:r>
              <a:rPr lang="ru-RU" sz="1600" b="0" i="0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условия</a:t>
            </a:r>
            <a:endParaRPr lang="ru-RU" sz="1600" b="0" i="0" u="none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95E8E9-4E98-4C2C-B847-36B1A9298047}"/>
              </a:ext>
            </a:extLst>
          </p:cNvPr>
          <p:cNvSpPr/>
          <p:nvPr/>
        </p:nvSpPr>
        <p:spPr>
          <a:xfrm>
            <a:off x="7982434" y="1981051"/>
            <a:ext cx="3424937" cy="5587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8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ные листы "Шелл"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738B89-D4B0-4B0B-9F63-5B132CBC1226}"/>
              </a:ext>
            </a:extLst>
          </p:cNvPr>
          <p:cNvSpPr/>
          <p:nvPr/>
        </p:nvSpPr>
        <p:spPr>
          <a:xfrm>
            <a:off x="7982434" y="2537390"/>
            <a:ext cx="3424938" cy="558795"/>
          </a:xfrm>
          <a:prstGeom prst="rect">
            <a:avLst/>
          </a:prstGeom>
          <a:solidFill>
            <a:srgbClr val="EB777A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ы Заказчика и международные стандарты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0589D1C-9A03-48FA-8320-D83F4C10ED36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9372" y="3195954"/>
            <a:ext cx="2388963" cy="3050742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F5D2EB41-6A8E-4567-9F8E-AD88D8FDD69A}"/>
              </a:ext>
            </a:extLst>
          </p:cNvPr>
          <p:cNvSpPr/>
          <p:nvPr/>
        </p:nvSpPr>
        <p:spPr>
          <a:xfrm>
            <a:off x="2539945" y="1422256"/>
            <a:ext cx="1723135" cy="387455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 err="1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30E22535-B933-47FD-994D-96BEB69CE97A}"/>
              </a:ext>
            </a:extLst>
          </p:cNvPr>
          <p:cNvSpPr/>
          <p:nvPr/>
        </p:nvSpPr>
        <p:spPr>
          <a:xfrm rot="10800000">
            <a:off x="7500556" y="1418483"/>
            <a:ext cx="1723135" cy="387455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0C90DD2-F012-4E90-932D-07E44D9B61CE}"/>
              </a:ext>
            </a:extLst>
          </p:cNvPr>
          <p:cNvSpPr/>
          <p:nvPr/>
        </p:nvSpPr>
        <p:spPr>
          <a:xfrm>
            <a:off x="4209567" y="1979151"/>
            <a:ext cx="3417824" cy="5587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8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ные листы проекта "Балтийский </a:t>
            </a:r>
            <a:r>
              <a:rPr lang="ru-RU" sz="1800" b="0" i="0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8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3542D1-8B22-4C78-B0A6-2D85AFFBD4AB}"/>
              </a:ext>
            </a:extLst>
          </p:cNvPr>
          <p:cNvSpPr/>
          <p:nvPr/>
        </p:nvSpPr>
        <p:spPr>
          <a:xfrm>
            <a:off x="4209567" y="2536074"/>
            <a:ext cx="3417824" cy="558795"/>
          </a:xfrm>
          <a:prstGeom prst="rect">
            <a:avLst/>
          </a:prstGeom>
          <a:solidFill>
            <a:srgbClr val="92D05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ы РФ, дополненные специальными требованиями Заказчика и международных стандартов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D67856A-8CF4-4FE0-BEC8-0DF062333A0F}"/>
              </a:ext>
            </a:extLst>
          </p:cNvPr>
          <p:cNvSpPr/>
          <p:nvPr/>
        </p:nvSpPr>
        <p:spPr>
          <a:xfrm>
            <a:off x="9930240" y="1324732"/>
            <a:ext cx="626231" cy="574957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6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D660327-ADA5-470E-A7DA-A320672098D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20161" y="1328505"/>
            <a:ext cx="845340" cy="57495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DE443A4-CE86-4804-B8AE-408A8669CFB6}"/>
              </a:ext>
            </a:extLst>
          </p:cNvPr>
          <p:cNvGrpSpPr/>
          <p:nvPr/>
        </p:nvGrpSpPr>
        <p:grpSpPr>
          <a:xfrm>
            <a:off x="5495655" y="1292655"/>
            <a:ext cx="1848904" cy="594313"/>
            <a:chOff x="5495655" y="1101262"/>
            <a:chExt cx="1848904" cy="59431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B8F03B4-E670-436D-9F5A-966E1EBDA6E4}"/>
                </a:ext>
              </a:extLst>
            </p:cNvPr>
            <p:cNvSpPr/>
            <p:nvPr/>
          </p:nvSpPr>
          <p:spPr>
            <a:xfrm>
              <a:off x="6718328" y="1120618"/>
              <a:ext cx="626231" cy="574957"/>
            </a:xfrm>
            <a:prstGeom prst="ellipse">
              <a:avLst/>
            </a:pr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6"/>
                  </a:ext>
                </a:extLst>
              </a:blip>
              <a:srcRect/>
              <a:stretch>
                <a:fillRect l="-4000" r="-4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pic>
          <p:nvPicPr>
            <p:cNvPr id="26" name="Рисунок 85">
              <a:extLst>
                <a:ext uri="{FF2B5EF4-FFF2-40B4-BE49-F238E27FC236}">
                  <a16:creationId xmlns:a16="http://schemas.microsoft.com/office/drawing/2014/main" id="{AFD46935-93F4-4ADA-9306-AAAD77C40A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495655" y="1101262"/>
              <a:ext cx="985642" cy="485523"/>
            </a:xfrm>
            <a:prstGeom prst="rect">
              <a:avLst/>
            </a:prstGeom>
            <a:noFill/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DF633A4E-59D7-4C7E-BAED-CFE9AD182E75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36E2ACF-0221-4391-A06B-0C56F6FCA9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59039"/>
            <a:ext cx="355564" cy="237600"/>
          </a:xfrm>
        </p:spPr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11</a:t>
            </a:fld>
            <a:endParaRPr lang="ru" noProof="1"/>
          </a:p>
        </p:txBody>
      </p:sp>
    </p:spTree>
    <p:extLst>
      <p:ext uri="{BB962C8B-B14F-4D97-AF65-F5344CB8AC3E}">
        <p14:creationId xmlns:p14="http://schemas.microsoft.com/office/powerpoint/2010/main" val="107151269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34B94-5F2F-4B69-94E2-BC6901A2C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19663"/>
            <a:ext cx="11171238" cy="752475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коммерческой составляющей – вопросы ценообразования и качества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F4FEB5-CF99-43B8-A1A9-15F74FE4E3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12</a:t>
            </a:fld>
            <a:endParaRPr lang="ru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4C9DF9-22D5-412A-A976-96183CC217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rtl="0">
              <a:defRPr/>
            </a:pPr>
            <a:r>
              <a:rPr lang="ru-RU" b="0" i="0" u="none" baseline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359EC-6376-4096-ADC1-B90F90869F66}"/>
              </a:ext>
            </a:extLst>
          </p:cNvPr>
          <p:cNvSpPr txBox="1"/>
          <p:nvPr/>
        </p:nvSpPr>
        <p:spPr bwMode="auto">
          <a:xfrm>
            <a:off x="575831" y="1465275"/>
            <a:ext cx="10926128" cy="5008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algn="l" defTabSz="357708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Важным шагом в стимулировании конкурентоспособности решений, предоставляемых поставщиками, является ранее начало реализации Программы развития потенциала и квалификации поставщиков.</a:t>
            </a:r>
          </a:p>
          <a:p>
            <a:pPr marL="895335" lvl="1" indent="-285750" algn="l" defTabSz="357708" rtl="0">
              <a:lnSpc>
                <a:spcPct val="120000"/>
              </a:lnSpc>
              <a:buClr>
                <a:schemeClr val="accent2"/>
              </a:buClr>
              <a:buSzPct val="85000"/>
              <a:buFont typeface="Arial" panose="020B0604020202020204" pitchFamily="34" charset="0"/>
              <a:buChar char="•"/>
              <a:tabLst>
                <a:tab pos="6113463" algn="l"/>
                <a:tab pos="6518275" algn="l"/>
              </a:tabLst>
            </a:pPr>
            <a:r>
              <a:rPr lang="ru-RU" sz="15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За счет привлечения нескольких поставщиков в процесс развития потенциала и квалификации создается конкуренция;</a:t>
            </a:r>
          </a:p>
          <a:p>
            <a:pPr marL="895335" lvl="1" indent="-285750" algn="l" defTabSz="357708" rtl="0">
              <a:lnSpc>
                <a:spcPct val="120000"/>
              </a:lnSpc>
              <a:buClr>
                <a:schemeClr val="accent2"/>
              </a:buClr>
              <a:buSzPct val="85000"/>
              <a:buFont typeface="Arial" panose="020B0604020202020204" pitchFamily="34" charset="0"/>
              <a:buChar char="•"/>
              <a:tabLst>
                <a:tab pos="6113463" algn="l"/>
                <a:tab pos="6518275" algn="l"/>
              </a:tabLst>
            </a:pPr>
            <a:r>
              <a:rPr lang="ru-RU" sz="15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нижаются риски, связанные с поставками;</a:t>
            </a:r>
          </a:p>
          <a:p>
            <a:pPr marL="895335" lvl="1" indent="-285750" algn="l" defTabSz="357708" rtl="0">
              <a:lnSpc>
                <a:spcPct val="120000"/>
              </a:lnSpc>
              <a:buClr>
                <a:schemeClr val="accent2"/>
              </a:buClr>
              <a:buSzPct val="85000"/>
              <a:buFont typeface="Arial" panose="020B0604020202020204" pitchFamily="34" charset="0"/>
              <a:buChar char="•"/>
              <a:tabLst>
                <a:tab pos="6113463" algn="l"/>
                <a:tab pos="6518275" algn="l"/>
              </a:tabLst>
            </a:pPr>
            <a:r>
              <a:rPr lang="ru-RU" sz="15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У производителей появляется время для внесения корректировок (при необходимости) и построения планов успешной деятельности.</a:t>
            </a:r>
          </a:p>
          <a:p>
            <a:pPr marL="201613" indent="-201613" algn="l" defTabSz="357708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оваторский подход к нормативной базе проекта вкупе с применением стандартных отраслевых решений обеспечивает максимально удобные условия для производства материалов и оборудования отечественными производителями, что стимулирует их конкурентоспособность и снижает риски поставщиков</a:t>
            </a:r>
          </a:p>
          <a:p>
            <a:pPr marL="895335" lvl="1" indent="-285750" algn="l" defTabSz="357708" rtl="0">
              <a:lnSpc>
                <a:spcPct val="120000"/>
              </a:lnSpc>
              <a:buClr>
                <a:schemeClr val="accent2"/>
              </a:buClr>
              <a:buSzPct val="85000"/>
              <a:buFont typeface="Arial" panose="020B0604020202020204" pitchFamily="34" charset="0"/>
              <a:buChar char="•"/>
            </a:pPr>
            <a:r>
              <a:rPr lang="ru-RU" sz="15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технических условий на базе известных стандартов и норм с включением, при необходимости, специальных дополнительных требований;</a:t>
            </a:r>
          </a:p>
          <a:p>
            <a:pPr marL="895335" lvl="1" indent="-285750" algn="l" defTabSz="357708" rtl="0">
              <a:lnSpc>
                <a:spcPct val="120000"/>
              </a:lnSpc>
              <a:buClr>
                <a:schemeClr val="accent2"/>
              </a:buClr>
              <a:buSzPct val="85000"/>
              <a:buFont typeface="Arial" panose="020B0604020202020204" pitchFamily="34" charset="0"/>
              <a:buChar char="•"/>
            </a:pPr>
            <a:r>
              <a:rPr lang="ru-RU" sz="15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роектные решения (по возможности) основаны на стандартных решениях, принятых среди российских производителей.</a:t>
            </a:r>
          </a:p>
          <a:p>
            <a:pPr marL="201613" indent="-201613" algn="l" defTabSz="357708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еобходимо проводить сравнительный анализ затратной части поставщиков с конкурентами (как по России, так и по миру)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A700AB-8091-4B31-B658-42C9A4D194DD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306524209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E335A-70BD-4757-B523-37ECBE0A1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323" y="712800"/>
            <a:ext cx="11171238" cy="752475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ервые совместные аудиты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FBA512-724F-4FA0-84EC-3E0EE7415C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13</a:t>
            </a:fld>
            <a:endParaRPr lang="ru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C7D5E5-5A9C-4D1B-A582-FC7C5B5C30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rtl="0">
              <a:defRPr/>
            </a:pPr>
            <a:r>
              <a:rPr lang="ru-RU" b="0" i="0" u="none" baseline="0"/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39CAAB3-94B7-4F2B-A702-D3E3C670748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6546" y="1588924"/>
            <a:ext cx="3704113" cy="204092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D504AF6-7C13-4A2A-9E4D-029A9F28CDE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412105" y="1362308"/>
            <a:ext cx="2073345" cy="1115458"/>
          </a:xfrm>
          <a:prstGeom prst="rect">
            <a:avLst/>
          </a:prstGeom>
        </p:spPr>
      </p:pic>
      <p:pic>
        <p:nvPicPr>
          <p:cNvPr id="13" name="Picture 2" descr="Severstal logo.svg">
            <a:extLst>
              <a:ext uri="{FF2B5EF4-FFF2-40B4-BE49-F238E27FC236}">
                <a16:creationId xmlns:a16="http://schemas.microsoft.com/office/drawing/2014/main" id="{1C22103D-F033-417B-9C7E-14F7B6503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074" y="4138309"/>
            <a:ext cx="1923603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ttp://chermk.severstal.com/files/152/photo_source_small.bmp">
            <a:extLst>
              <a:ext uri="{FF2B5EF4-FFF2-40B4-BE49-F238E27FC236}">
                <a16:creationId xmlns:a16="http://schemas.microsoft.com/office/drawing/2014/main" id="{8FB5D20F-C9EA-48B0-A557-84A69B87A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46" y="3893717"/>
            <a:ext cx="3750884" cy="2186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BF0FF8D-25F3-4E94-ABA8-3DA482DF83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170142" y="1276350"/>
            <a:ext cx="4435312" cy="4677851"/>
          </a:xfrm>
        </p:spPr>
        <p:txBody>
          <a:bodyPr/>
          <a:lstStyle/>
          <a:p>
            <a:pPr marL="404813" lvl="1" indent="-404813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Аудит, проведенный совместно концерном "Шелл" и </a:t>
            </a:r>
            <a:r>
              <a:rPr lang="ru-RU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 в марте-апреле 2018 г.;</a:t>
            </a:r>
          </a:p>
          <a:p>
            <a:pPr marL="404813" lvl="1" indent="-404813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роверке подлежали соответствующие производственные возможности, мощности, процессы и качество производства.</a:t>
            </a:r>
          </a:p>
          <a:p>
            <a:pPr marL="404813" lvl="1" indent="-404813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Были выявлены и согласованы направления, требующие улучшения, для прохождения своевременной квалификации по проекту "Балтийский </a:t>
            </a:r>
            <a:r>
              <a:rPr lang="ru-RU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</a:p>
          <a:p>
            <a:pPr marL="404813" lvl="1" indent="-404813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ачата разработка эффективного сценария будущих поставок.</a:t>
            </a:r>
          </a:p>
          <a:p>
            <a:pPr lvl="1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ru" dirty="0"/>
          </a:p>
          <a:p>
            <a:pPr marL="342900" indent="-342900"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" b="1" dirty="0"/>
          </a:p>
          <a:p>
            <a:pPr algn="l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ru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913952-F093-4E3E-AAFC-C62215AD497C}"/>
              </a:ext>
            </a:extLst>
          </p:cNvPr>
          <p:cNvSpPr/>
          <p:nvPr/>
        </p:nvSpPr>
        <p:spPr>
          <a:xfrm>
            <a:off x="4580824" y="2546976"/>
            <a:ext cx="24180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пиралевидные теплообменники из нержавеющей стали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B6404D-0A9B-4F94-8C94-BF17585269C4}"/>
              </a:ext>
            </a:extLst>
          </p:cNvPr>
          <p:cNvSpPr/>
          <p:nvPr/>
        </p:nvSpPr>
        <p:spPr>
          <a:xfrm>
            <a:off x="4612361" y="4962826"/>
            <a:ext cx="255778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>
              <a:lnSpc>
                <a:spcPct val="100000"/>
              </a:lnSpc>
            </a:pP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аль с 9%-ным содержанием никеля для резервуара хранения </a:t>
            </a:r>
            <a:r>
              <a:rPr lang="ru-RU" sz="18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5B7B30-3464-4EE8-AA52-7978553482FF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170640203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4DD9513-D803-4AD4-94E2-26C6200E56E2}"/>
              </a:ext>
            </a:extLst>
          </p:cNvPr>
          <p:cNvSpPr txBox="1"/>
          <p:nvPr/>
        </p:nvSpPr>
        <p:spPr bwMode="auto">
          <a:xfrm>
            <a:off x="5266448" y="4969565"/>
            <a:ext cx="1659109" cy="5341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357708" rtl="0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ru-RU" sz="28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373941445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«Балтийский СПГ» - конкурентоспособный проект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C4062B5-34BB-4A58-8B9E-EA2F726357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1865959"/>
            <a:ext cx="7790918" cy="234215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7AD4BD8-14C9-4A47-AABB-D72CE604777D}"/>
              </a:ext>
            </a:extLst>
          </p:cNvPr>
          <p:cNvSpPr txBox="1"/>
          <p:nvPr/>
        </p:nvSpPr>
        <p:spPr bwMode="auto">
          <a:xfrm>
            <a:off x="508000" y="1128513"/>
            <a:ext cx="10900410" cy="86902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новой бизнес-модели для реализации проекта «Балтийский СПГ»: ПАО «Газпром» будет получать СПГ, производимый на производственном комплексе у западной границы России с использованием сырьевого газа, поступающего из единой газотранспортной системы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D33322-E3D1-498D-A1BB-EAEBC3FA866A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DD3FE0-EFE2-4401-99B5-2AA40CEFD295}"/>
              </a:ext>
            </a:extLst>
          </p:cNvPr>
          <p:cNvSpPr/>
          <p:nvPr/>
        </p:nvSpPr>
        <p:spPr>
          <a:xfrm>
            <a:off x="8515350" y="6387561"/>
            <a:ext cx="1028700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742EE5-9FA8-4E34-8288-E36CF05D0035}"/>
              </a:ext>
            </a:extLst>
          </p:cNvPr>
          <p:cNvSpPr txBox="1"/>
          <p:nvPr/>
        </p:nvSpPr>
        <p:spPr bwMode="auto">
          <a:xfrm>
            <a:off x="508000" y="4423863"/>
            <a:ext cx="11171238" cy="205139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30000"/>
              </a:lnSpc>
              <a:buClr>
                <a:schemeClr val="accent2"/>
              </a:buClr>
              <a:buSzPct val="85000"/>
            </a:pP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Революционный подход к разработке проекта «Балтийский СПГ»</a:t>
            </a:r>
            <a:endParaRPr lang="en-GB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проекта будет вестись на основе требований </a:t>
            </a:r>
            <a:r>
              <a:rPr lang="ru-RU" sz="1500" u="sng" dirty="0">
                <a:latin typeface="Arial" panose="020B0604020202020204" pitchFamily="34" charset="0"/>
                <a:cs typeface="Arial" panose="020B0604020202020204" pitchFamily="34" charset="0"/>
              </a:rPr>
              <a:t>российских технических стандартов, нормативов и технических условий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Гармонизация технических стандартов для целей проекта «Балтийский СПГ» даст положительный эффект с точки зрения формирования методологической базы для разработки российских отраслевых стандартов в сфере производства СПГ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овый подход позволит расширить вовлеченность российских производителей в реализацию проекта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ущественное снижение проектных рисков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8748E24-6B56-4C17-96A5-4D7C5822A8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2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71775874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605E4A5-AFFE-42AB-ABB4-53BB2AA0C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621" y="712800"/>
            <a:ext cx="11171238" cy="754017"/>
          </a:xfrm>
        </p:spPr>
        <p:txBody>
          <a:bodyPr/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армонизация стандартов для совместных проектов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рпоративный уровень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)  </a:t>
            </a:r>
          </a:p>
        </p:txBody>
      </p:sp>
      <p:sp>
        <p:nvSpPr>
          <p:cNvPr id="7" name="Прямоугольник 13">
            <a:extLst>
              <a:ext uri="{FF2B5EF4-FFF2-40B4-BE49-F238E27FC236}">
                <a16:creationId xmlns:a16="http://schemas.microsoft.com/office/drawing/2014/main" id="{F9D4FE9D-FF97-4316-9451-F38BE5BCE036}"/>
              </a:ext>
            </a:extLst>
          </p:cNvPr>
          <p:cNvSpPr/>
          <p:nvPr/>
        </p:nvSpPr>
        <p:spPr>
          <a:xfrm>
            <a:off x="621068" y="1975035"/>
            <a:ext cx="45326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ерархия стандартов, используемых в рамках проекта «Балтийский СПГ»,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огласованная между ПАО «Газпром» и «Шелл»</a:t>
            </a:r>
          </a:p>
        </p:txBody>
      </p:sp>
      <p:sp>
        <p:nvSpPr>
          <p:cNvPr id="8" name="Прямоугольник 14">
            <a:extLst>
              <a:ext uri="{FF2B5EF4-FFF2-40B4-BE49-F238E27FC236}">
                <a16:creationId xmlns:a16="http://schemas.microsoft.com/office/drawing/2014/main" id="{5A1A09AE-ED41-4BB0-B676-BF1ACF3FA9A1}"/>
              </a:ext>
            </a:extLst>
          </p:cNvPr>
          <p:cNvSpPr/>
          <p:nvPr/>
        </p:nvSpPr>
        <p:spPr>
          <a:xfrm>
            <a:off x="5563297" y="1753117"/>
            <a:ext cx="62599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рархия технических нормативов и  стандартов, используемых на каждом этапе реализации проекта «Балтийский» СПГ»</a:t>
            </a: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Соединитель: уступ 25">
            <a:extLst>
              <a:ext uri="{FF2B5EF4-FFF2-40B4-BE49-F238E27FC236}">
                <a16:creationId xmlns:a16="http://schemas.microsoft.com/office/drawing/2014/main" id="{292175FC-7425-4BE9-8377-A0AEFA7AB3A0}"/>
              </a:ext>
            </a:extLst>
          </p:cNvPr>
          <p:cNvCxnSpPr>
            <a:cxnSpLocks/>
          </p:cNvCxnSpPr>
          <p:nvPr/>
        </p:nvCxnSpPr>
        <p:spPr>
          <a:xfrm rot="16200000" flipH="1">
            <a:off x="5682345" y="2989762"/>
            <a:ext cx="355042" cy="233413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: уступ 26">
            <a:extLst>
              <a:ext uri="{FF2B5EF4-FFF2-40B4-BE49-F238E27FC236}">
                <a16:creationId xmlns:a16="http://schemas.microsoft.com/office/drawing/2014/main" id="{735C3DA0-4B77-4CF2-A49B-EC2A015520E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120697" y="3617181"/>
            <a:ext cx="355042" cy="233413"/>
          </a:xfrm>
          <a:prstGeom prst="bentConnector2">
            <a:avLst/>
          </a:prstGeom>
          <a:ln>
            <a:solidFill>
              <a:srgbClr val="C00000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39">
            <a:extLst>
              <a:ext uri="{FF2B5EF4-FFF2-40B4-BE49-F238E27FC236}">
                <a16:creationId xmlns:a16="http://schemas.microsoft.com/office/drawing/2014/main" id="{DE2620E7-E673-43AA-8AF7-43DBEE1D83FF}"/>
              </a:ext>
            </a:extLst>
          </p:cNvPr>
          <p:cNvGrpSpPr/>
          <p:nvPr/>
        </p:nvGrpSpPr>
        <p:grpSpPr>
          <a:xfrm>
            <a:off x="5610634" y="2363751"/>
            <a:ext cx="5580039" cy="646331"/>
            <a:chOff x="5507882" y="1562060"/>
            <a:chExt cx="5580039" cy="646331"/>
          </a:xfrm>
        </p:grpSpPr>
        <p:pic>
          <p:nvPicPr>
            <p:cNvPr id="12" name="Рисунок 15">
              <a:extLst>
                <a:ext uri="{FF2B5EF4-FFF2-40B4-BE49-F238E27FC236}">
                  <a16:creationId xmlns:a16="http://schemas.microsoft.com/office/drawing/2014/main" id="{A6AA3721-4E18-4282-8FAE-50FE270E5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102122" y="1631083"/>
              <a:ext cx="435421" cy="351764"/>
            </a:xfrm>
            <a:prstGeom prst="rect">
              <a:avLst/>
            </a:prstGeom>
          </p:spPr>
        </p:pic>
        <p:sp>
          <p:nvSpPr>
            <p:cNvPr id="13" name="Прямоугольник 16">
              <a:extLst>
                <a:ext uri="{FF2B5EF4-FFF2-40B4-BE49-F238E27FC236}">
                  <a16:creationId xmlns:a16="http://schemas.microsoft.com/office/drawing/2014/main" id="{4B0F6E4E-A27E-4EAE-A59F-77ACE30DD014}"/>
                </a:ext>
              </a:extLst>
            </p:cNvPr>
            <p:cNvSpPr/>
            <p:nvPr/>
          </p:nvSpPr>
          <p:spPr>
            <a:xfrm>
              <a:off x="5892579" y="1562060"/>
              <a:ext cx="30350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ебования российских федеральных законов и государственных стандартов</a:t>
              </a:r>
              <a:endPara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Овал 19">
              <a:extLst>
                <a:ext uri="{FF2B5EF4-FFF2-40B4-BE49-F238E27FC236}">
                  <a16:creationId xmlns:a16="http://schemas.microsoft.com/office/drawing/2014/main" id="{2AE6017F-1303-40A5-93B0-79EE26F0C068}"/>
                </a:ext>
              </a:extLst>
            </p:cNvPr>
            <p:cNvSpPr/>
            <p:nvPr/>
          </p:nvSpPr>
          <p:spPr>
            <a:xfrm>
              <a:off x="5507882" y="1650076"/>
              <a:ext cx="302568" cy="302568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  <p:sp>
          <p:nvSpPr>
            <p:cNvPr id="15" name="Прямоугольник 33">
              <a:extLst>
                <a:ext uri="{FF2B5EF4-FFF2-40B4-BE49-F238E27FC236}">
                  <a16:creationId xmlns:a16="http://schemas.microsoft.com/office/drawing/2014/main" id="{55197B8F-B7CE-4D05-9607-7C2E008C5532}"/>
                </a:ext>
              </a:extLst>
            </p:cNvPr>
            <p:cNvSpPr/>
            <p:nvPr/>
          </p:nvSpPr>
          <p:spPr>
            <a:xfrm>
              <a:off x="10304886" y="1636176"/>
              <a:ext cx="78303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ea typeface="Arial" charset="0"/>
                  <a:cs typeface="Arial" charset="0"/>
                </a:rPr>
                <a:t>ГОСТ Р</a:t>
              </a:r>
              <a:endParaRPr lang="ru-RU" sz="1400" b="1" dirty="0"/>
            </a:p>
          </p:txBody>
        </p:sp>
        <p:sp>
          <p:nvSpPr>
            <p:cNvPr id="16" name="Прямоугольник 34">
              <a:extLst>
                <a:ext uri="{FF2B5EF4-FFF2-40B4-BE49-F238E27FC236}">
                  <a16:creationId xmlns:a16="http://schemas.microsoft.com/office/drawing/2014/main" id="{25B30AF9-8902-4951-8F5D-8151C7C2E6B9}"/>
                </a:ext>
              </a:extLst>
            </p:cNvPr>
            <p:cNvSpPr/>
            <p:nvPr/>
          </p:nvSpPr>
          <p:spPr>
            <a:xfrm>
              <a:off x="9648336" y="1630934"/>
              <a:ext cx="6211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ea typeface="Arial" charset="0"/>
                  <a:cs typeface="Arial" charset="0"/>
                </a:rPr>
                <a:t>ГОСТ</a:t>
              </a:r>
              <a:endParaRPr lang="ru-RU" sz="1400" b="1" dirty="0"/>
            </a:p>
          </p:txBody>
        </p:sp>
      </p:grpSp>
      <p:grpSp>
        <p:nvGrpSpPr>
          <p:cNvPr id="17" name="Группа 37">
            <a:extLst>
              <a:ext uri="{FF2B5EF4-FFF2-40B4-BE49-F238E27FC236}">
                <a16:creationId xmlns:a16="http://schemas.microsoft.com/office/drawing/2014/main" id="{C9559010-791F-4E54-A757-6B076F7A00B1}"/>
              </a:ext>
            </a:extLst>
          </p:cNvPr>
          <p:cNvGrpSpPr/>
          <p:nvPr/>
        </p:nvGrpSpPr>
        <p:grpSpPr>
          <a:xfrm>
            <a:off x="6490280" y="3652049"/>
            <a:ext cx="4300058" cy="865111"/>
            <a:chOff x="6352632" y="2650464"/>
            <a:chExt cx="4300058" cy="865111"/>
          </a:xfrm>
        </p:grpSpPr>
        <p:sp>
          <p:nvSpPr>
            <p:cNvPr id="18" name="Прямоугольник 18">
              <a:extLst>
                <a:ext uri="{FF2B5EF4-FFF2-40B4-BE49-F238E27FC236}">
                  <a16:creationId xmlns:a16="http://schemas.microsoft.com/office/drawing/2014/main" id="{598918E4-1541-4904-BCEE-8CDB5F9C1359}"/>
                </a:ext>
              </a:extLst>
            </p:cNvPr>
            <p:cNvSpPr/>
            <p:nvPr/>
          </p:nvSpPr>
          <p:spPr>
            <a:xfrm>
              <a:off x="6693940" y="2684578"/>
              <a:ext cx="316774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инимальные требования собственников, основывающиеся на принятых корпоративных методах ведения работ</a:t>
              </a:r>
              <a:endParaRPr lang="ru-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Овал 23">
              <a:extLst>
                <a:ext uri="{FF2B5EF4-FFF2-40B4-BE49-F238E27FC236}">
                  <a16:creationId xmlns:a16="http://schemas.microsoft.com/office/drawing/2014/main" id="{C7ACAE02-C956-4ACE-A187-EA00CC93C1E8}"/>
                </a:ext>
              </a:extLst>
            </p:cNvPr>
            <p:cNvSpPr/>
            <p:nvPr/>
          </p:nvSpPr>
          <p:spPr>
            <a:xfrm>
              <a:off x="6352632" y="2760225"/>
              <a:ext cx="302568" cy="302568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3</a:t>
              </a:r>
              <a:endParaRPr lang="ru-RU" sz="1400" dirty="0"/>
            </a:p>
          </p:txBody>
        </p:sp>
        <p:pic>
          <p:nvPicPr>
            <p:cNvPr id="21" name="Рисунок 36">
              <a:extLst>
                <a:ext uri="{FF2B5EF4-FFF2-40B4-BE49-F238E27FC236}">
                  <a16:creationId xmlns:a16="http://schemas.microsoft.com/office/drawing/2014/main" id="{7F38D225-25ED-469F-A109-052FB17ED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61683" y="2650464"/>
              <a:ext cx="791007" cy="389647"/>
            </a:xfrm>
            <a:prstGeom prst="rect">
              <a:avLst/>
            </a:prstGeom>
            <a:noFill/>
          </p:spPr>
        </p:pic>
      </p:grpSp>
      <p:sp>
        <p:nvSpPr>
          <p:cNvPr id="22" name="Равнобедренный треугольник 12">
            <a:extLst>
              <a:ext uri="{FF2B5EF4-FFF2-40B4-BE49-F238E27FC236}">
                <a16:creationId xmlns:a16="http://schemas.microsoft.com/office/drawing/2014/main" id="{2F81FE17-8206-4326-ABFD-D455BDFC9A88}"/>
              </a:ext>
            </a:extLst>
          </p:cNvPr>
          <p:cNvSpPr/>
          <p:nvPr/>
        </p:nvSpPr>
        <p:spPr>
          <a:xfrm rot="5400000">
            <a:off x="3838995" y="2806017"/>
            <a:ext cx="2366154" cy="431349"/>
          </a:xfrm>
          <a:custGeom>
            <a:avLst/>
            <a:gdLst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0 w 2909461"/>
              <a:gd name="connsiteY3" fmla="*/ 536234 h 536234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1308412 w 2909461"/>
              <a:gd name="connsiteY3" fmla="*/ 532978 h 536234"/>
              <a:gd name="connsiteX4" fmla="*/ 0 w 2909461"/>
              <a:gd name="connsiteY4" fmla="*/ 536234 h 536234"/>
              <a:gd name="connsiteX0" fmla="*/ 1308412 w 2909461"/>
              <a:gd name="connsiteY0" fmla="*/ 532978 h 624418"/>
              <a:gd name="connsiteX1" fmla="*/ 0 w 2909461"/>
              <a:gd name="connsiteY1" fmla="*/ 536234 h 624418"/>
              <a:gd name="connsiteX2" fmla="*/ 1454731 w 2909461"/>
              <a:gd name="connsiteY2" fmla="*/ 0 h 624418"/>
              <a:gd name="connsiteX3" fmla="*/ 2909461 w 2909461"/>
              <a:gd name="connsiteY3" fmla="*/ 536234 h 624418"/>
              <a:gd name="connsiteX4" fmla="*/ 1399852 w 2909461"/>
              <a:gd name="connsiteY4" fmla="*/ 624418 h 624418"/>
              <a:gd name="connsiteX0" fmla="*/ 0 w 2909461"/>
              <a:gd name="connsiteY0" fmla="*/ 536234 h 624418"/>
              <a:gd name="connsiteX1" fmla="*/ 1454731 w 2909461"/>
              <a:gd name="connsiteY1" fmla="*/ 0 h 624418"/>
              <a:gd name="connsiteX2" fmla="*/ 2909461 w 2909461"/>
              <a:gd name="connsiteY2" fmla="*/ 536234 h 624418"/>
              <a:gd name="connsiteX3" fmla="*/ 1399852 w 2909461"/>
              <a:gd name="connsiteY3" fmla="*/ 624418 h 624418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09461" h="536234">
                <a:moveTo>
                  <a:pt x="0" y="536234"/>
                </a:moveTo>
                <a:lnTo>
                  <a:pt x="1454731" y="0"/>
                </a:lnTo>
                <a:lnTo>
                  <a:pt x="2909461" y="536234"/>
                </a:lnTo>
              </a:path>
            </a:pathLst>
          </a:custGeom>
          <a:noFill/>
          <a:ln w="952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" name="Рисунок 41">
            <a:extLst>
              <a:ext uri="{FF2B5EF4-FFF2-40B4-BE49-F238E27FC236}">
                <a16:creationId xmlns:a16="http://schemas.microsoft.com/office/drawing/2014/main" id="{FA730460-22E5-436F-9061-F9D6E5B516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707" y="4858209"/>
            <a:ext cx="985642" cy="485523"/>
          </a:xfrm>
          <a:prstGeom prst="rect">
            <a:avLst/>
          </a:prstGeom>
          <a:noFill/>
        </p:spPr>
      </p:pic>
      <p:pic>
        <p:nvPicPr>
          <p:cNvPr id="24" name="Рисунок 45">
            <a:extLst>
              <a:ext uri="{FF2B5EF4-FFF2-40B4-BE49-F238E27FC236}">
                <a16:creationId xmlns:a16="http://schemas.microsoft.com/office/drawing/2014/main" id="{50BDC2FD-004D-4928-95D3-580B62AB18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8119" y="5971577"/>
            <a:ext cx="1004574" cy="567571"/>
          </a:xfrm>
          <a:prstGeom prst="rect">
            <a:avLst/>
          </a:prstGeom>
        </p:spPr>
      </p:pic>
      <p:pic>
        <p:nvPicPr>
          <p:cNvPr id="25" name="Picture 9" descr="F:\cryo.jpg">
            <a:extLst>
              <a:ext uri="{FF2B5EF4-FFF2-40B4-BE49-F238E27FC236}">
                <a16:creationId xmlns:a16="http://schemas.microsoft.com/office/drawing/2014/main" id="{E4694F8A-5F95-4B53-822B-869197FFC2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504" y="5604063"/>
            <a:ext cx="1015189" cy="33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Равнобедренный треугольник 12">
            <a:extLst>
              <a:ext uri="{FF2B5EF4-FFF2-40B4-BE49-F238E27FC236}">
                <a16:creationId xmlns:a16="http://schemas.microsoft.com/office/drawing/2014/main" id="{AC3B22A4-C3CF-4981-9A3B-056FD10E5022}"/>
              </a:ext>
            </a:extLst>
          </p:cNvPr>
          <p:cNvSpPr/>
          <p:nvPr/>
        </p:nvSpPr>
        <p:spPr>
          <a:xfrm rot="5400000">
            <a:off x="2516162" y="5912026"/>
            <a:ext cx="1047629" cy="223299"/>
          </a:xfrm>
          <a:custGeom>
            <a:avLst/>
            <a:gdLst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0 w 2909461"/>
              <a:gd name="connsiteY3" fmla="*/ 536234 h 536234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1308412 w 2909461"/>
              <a:gd name="connsiteY3" fmla="*/ 532978 h 536234"/>
              <a:gd name="connsiteX4" fmla="*/ 0 w 2909461"/>
              <a:gd name="connsiteY4" fmla="*/ 536234 h 536234"/>
              <a:gd name="connsiteX0" fmla="*/ 1308412 w 2909461"/>
              <a:gd name="connsiteY0" fmla="*/ 532978 h 624418"/>
              <a:gd name="connsiteX1" fmla="*/ 0 w 2909461"/>
              <a:gd name="connsiteY1" fmla="*/ 536234 h 624418"/>
              <a:gd name="connsiteX2" fmla="*/ 1454731 w 2909461"/>
              <a:gd name="connsiteY2" fmla="*/ 0 h 624418"/>
              <a:gd name="connsiteX3" fmla="*/ 2909461 w 2909461"/>
              <a:gd name="connsiteY3" fmla="*/ 536234 h 624418"/>
              <a:gd name="connsiteX4" fmla="*/ 1399852 w 2909461"/>
              <a:gd name="connsiteY4" fmla="*/ 624418 h 624418"/>
              <a:gd name="connsiteX0" fmla="*/ 0 w 2909461"/>
              <a:gd name="connsiteY0" fmla="*/ 536234 h 624418"/>
              <a:gd name="connsiteX1" fmla="*/ 1454731 w 2909461"/>
              <a:gd name="connsiteY1" fmla="*/ 0 h 624418"/>
              <a:gd name="connsiteX2" fmla="*/ 2909461 w 2909461"/>
              <a:gd name="connsiteY2" fmla="*/ 536234 h 624418"/>
              <a:gd name="connsiteX3" fmla="*/ 1399852 w 2909461"/>
              <a:gd name="connsiteY3" fmla="*/ 624418 h 624418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09461" h="536234">
                <a:moveTo>
                  <a:pt x="0" y="536234"/>
                </a:moveTo>
                <a:lnTo>
                  <a:pt x="1454731" y="0"/>
                </a:lnTo>
                <a:lnTo>
                  <a:pt x="2909461" y="536234"/>
                </a:lnTo>
              </a:path>
            </a:pathLst>
          </a:custGeom>
          <a:noFill/>
          <a:ln w="952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 52">
            <a:extLst>
              <a:ext uri="{FF2B5EF4-FFF2-40B4-BE49-F238E27FC236}">
                <a16:creationId xmlns:a16="http://schemas.microsoft.com/office/drawing/2014/main" id="{AD96D8D2-79D4-41C5-9507-C50967CB749A}"/>
              </a:ext>
            </a:extLst>
          </p:cNvPr>
          <p:cNvSpPr/>
          <p:nvPr/>
        </p:nvSpPr>
        <p:spPr>
          <a:xfrm>
            <a:off x="4167466" y="5450258"/>
            <a:ext cx="42309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Разработка согласованной программы </a:t>
            </a:r>
            <a:r>
              <a:rPr lang="ru-RU" sz="1400" b="1">
                <a:latin typeface="Arial" panose="020B0604020202020204" pitchFamily="34" charset="0"/>
                <a:cs typeface="Arial" panose="020B0604020202020204" pitchFamily="34" charset="0"/>
              </a:rPr>
              <a:t>гармонизации стандартов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Группа 63">
            <a:extLst>
              <a:ext uri="{FF2B5EF4-FFF2-40B4-BE49-F238E27FC236}">
                <a16:creationId xmlns:a16="http://schemas.microsoft.com/office/drawing/2014/main" id="{6CE6C769-3A2E-4788-A4A2-321BF5662387}"/>
              </a:ext>
            </a:extLst>
          </p:cNvPr>
          <p:cNvGrpSpPr/>
          <p:nvPr/>
        </p:nvGrpSpPr>
        <p:grpSpPr>
          <a:xfrm>
            <a:off x="1980528" y="4578915"/>
            <a:ext cx="7049807" cy="437013"/>
            <a:chOff x="1992498" y="3731518"/>
            <a:chExt cx="7459439" cy="572733"/>
          </a:xfrm>
        </p:grpSpPr>
        <p:cxnSp>
          <p:nvCxnSpPr>
            <p:cNvPr id="29" name="Соединитель: уступ 58">
              <a:extLst>
                <a:ext uri="{FF2B5EF4-FFF2-40B4-BE49-F238E27FC236}">
                  <a16:creationId xmlns:a16="http://schemas.microsoft.com/office/drawing/2014/main" id="{CDC73F87-B22F-473A-9F8F-315128B6D5D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435851" y="288165"/>
              <a:ext cx="572733" cy="745943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C00000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62">
              <a:extLst>
                <a:ext uri="{FF2B5EF4-FFF2-40B4-BE49-F238E27FC236}">
                  <a16:creationId xmlns:a16="http://schemas.microsoft.com/office/drawing/2014/main" id="{ECCAADC1-6CCA-4C8C-AF19-648A789B38CB}"/>
                </a:ext>
              </a:extLst>
            </p:cNvPr>
            <p:cNvCxnSpPr/>
            <p:nvPr/>
          </p:nvCxnSpPr>
          <p:spPr>
            <a:xfrm flipV="1">
              <a:off x="4108361" y="3833155"/>
              <a:ext cx="1165886" cy="9800"/>
            </a:xfrm>
            <a:prstGeom prst="line">
              <a:avLst/>
            </a:prstGeom>
            <a:ln>
              <a:solidFill>
                <a:srgbClr val="C00000"/>
              </a:solidFill>
              <a:tailEnd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Группа 79">
            <a:extLst>
              <a:ext uri="{FF2B5EF4-FFF2-40B4-BE49-F238E27FC236}">
                <a16:creationId xmlns:a16="http://schemas.microsoft.com/office/drawing/2014/main" id="{92BF9ABE-D9F9-4FC9-B6A5-801C0F70FE27}"/>
              </a:ext>
            </a:extLst>
          </p:cNvPr>
          <p:cNvGrpSpPr/>
          <p:nvPr/>
        </p:nvGrpSpPr>
        <p:grpSpPr>
          <a:xfrm>
            <a:off x="3554054" y="5538961"/>
            <a:ext cx="528146" cy="669799"/>
            <a:chOff x="3484986" y="4647358"/>
            <a:chExt cx="528146" cy="669799"/>
          </a:xfrm>
        </p:grpSpPr>
        <p:sp>
          <p:nvSpPr>
            <p:cNvPr id="32" name="Полилиния: фигура 77">
              <a:extLst>
                <a:ext uri="{FF2B5EF4-FFF2-40B4-BE49-F238E27FC236}">
                  <a16:creationId xmlns:a16="http://schemas.microsoft.com/office/drawing/2014/main" id="{BC0FDDF2-324C-4881-9818-630FAE4EAB0F}"/>
                </a:ext>
              </a:extLst>
            </p:cNvPr>
            <p:cNvSpPr/>
            <p:nvPr/>
          </p:nvSpPr>
          <p:spPr>
            <a:xfrm>
              <a:off x="3570252" y="4785293"/>
              <a:ext cx="372853" cy="340732"/>
            </a:xfrm>
            <a:custGeom>
              <a:avLst/>
              <a:gdLst>
                <a:gd name="connsiteX0" fmla="*/ 178311 w 538311"/>
                <a:gd name="connsiteY0" fmla="*/ 496634 h 603160"/>
                <a:gd name="connsiteX1" fmla="*/ 538311 w 538311"/>
                <a:gd name="connsiteY1" fmla="*/ 496634 h 603160"/>
                <a:gd name="connsiteX2" fmla="*/ 538311 w 538311"/>
                <a:gd name="connsiteY2" fmla="*/ 603160 h 603160"/>
                <a:gd name="connsiteX3" fmla="*/ 178311 w 538311"/>
                <a:gd name="connsiteY3" fmla="*/ 603160 h 603160"/>
                <a:gd name="connsiteX4" fmla="*/ 0 w 538311"/>
                <a:gd name="connsiteY4" fmla="*/ 496634 h 603160"/>
                <a:gd name="connsiteX5" fmla="*/ 108000 w 538311"/>
                <a:gd name="connsiteY5" fmla="*/ 496634 h 603160"/>
                <a:gd name="connsiteX6" fmla="*/ 108000 w 538311"/>
                <a:gd name="connsiteY6" fmla="*/ 603160 h 603160"/>
                <a:gd name="connsiteX7" fmla="*/ 0 w 538311"/>
                <a:gd name="connsiteY7" fmla="*/ 603160 h 603160"/>
                <a:gd name="connsiteX8" fmla="*/ 178311 w 538311"/>
                <a:gd name="connsiteY8" fmla="*/ 327879 h 603160"/>
                <a:gd name="connsiteX9" fmla="*/ 538311 w 538311"/>
                <a:gd name="connsiteY9" fmla="*/ 327879 h 603160"/>
                <a:gd name="connsiteX10" fmla="*/ 538311 w 538311"/>
                <a:gd name="connsiteY10" fmla="*/ 434405 h 603160"/>
                <a:gd name="connsiteX11" fmla="*/ 178311 w 538311"/>
                <a:gd name="connsiteY11" fmla="*/ 434405 h 603160"/>
                <a:gd name="connsiteX12" fmla="*/ 0 w 538311"/>
                <a:gd name="connsiteY12" fmla="*/ 327879 h 603160"/>
                <a:gd name="connsiteX13" fmla="*/ 108000 w 538311"/>
                <a:gd name="connsiteY13" fmla="*/ 327879 h 603160"/>
                <a:gd name="connsiteX14" fmla="*/ 108000 w 538311"/>
                <a:gd name="connsiteY14" fmla="*/ 434405 h 603160"/>
                <a:gd name="connsiteX15" fmla="*/ 0 w 538311"/>
                <a:gd name="connsiteY15" fmla="*/ 434405 h 603160"/>
                <a:gd name="connsiteX16" fmla="*/ 178311 w 538311"/>
                <a:gd name="connsiteY16" fmla="*/ 161012 h 603160"/>
                <a:gd name="connsiteX17" fmla="*/ 538311 w 538311"/>
                <a:gd name="connsiteY17" fmla="*/ 161012 h 603160"/>
                <a:gd name="connsiteX18" fmla="*/ 538311 w 538311"/>
                <a:gd name="connsiteY18" fmla="*/ 267538 h 603160"/>
                <a:gd name="connsiteX19" fmla="*/ 178311 w 538311"/>
                <a:gd name="connsiteY19" fmla="*/ 267538 h 603160"/>
                <a:gd name="connsiteX20" fmla="*/ 0 w 538311"/>
                <a:gd name="connsiteY20" fmla="*/ 161012 h 603160"/>
                <a:gd name="connsiteX21" fmla="*/ 108000 w 538311"/>
                <a:gd name="connsiteY21" fmla="*/ 161012 h 603160"/>
                <a:gd name="connsiteX22" fmla="*/ 108000 w 538311"/>
                <a:gd name="connsiteY22" fmla="*/ 267538 h 603160"/>
                <a:gd name="connsiteX23" fmla="*/ 0 w 538311"/>
                <a:gd name="connsiteY23" fmla="*/ 267538 h 603160"/>
                <a:gd name="connsiteX24" fmla="*/ 178311 w 538311"/>
                <a:gd name="connsiteY24" fmla="*/ 0 h 603160"/>
                <a:gd name="connsiteX25" fmla="*/ 538311 w 538311"/>
                <a:gd name="connsiteY25" fmla="*/ 0 h 603160"/>
                <a:gd name="connsiteX26" fmla="*/ 538311 w 538311"/>
                <a:gd name="connsiteY26" fmla="*/ 106526 h 603160"/>
                <a:gd name="connsiteX27" fmla="*/ 178311 w 538311"/>
                <a:gd name="connsiteY27" fmla="*/ 106526 h 603160"/>
                <a:gd name="connsiteX28" fmla="*/ 0 w 538311"/>
                <a:gd name="connsiteY28" fmla="*/ 0 h 603160"/>
                <a:gd name="connsiteX29" fmla="*/ 108000 w 538311"/>
                <a:gd name="connsiteY29" fmla="*/ 0 h 603160"/>
                <a:gd name="connsiteX30" fmla="*/ 108000 w 538311"/>
                <a:gd name="connsiteY30" fmla="*/ 106526 h 603160"/>
                <a:gd name="connsiteX31" fmla="*/ 0 w 538311"/>
                <a:gd name="connsiteY31" fmla="*/ 106526 h 60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38311" h="603160">
                  <a:moveTo>
                    <a:pt x="178311" y="496634"/>
                  </a:moveTo>
                  <a:lnTo>
                    <a:pt x="538311" y="496634"/>
                  </a:lnTo>
                  <a:lnTo>
                    <a:pt x="538311" y="603160"/>
                  </a:lnTo>
                  <a:lnTo>
                    <a:pt x="178311" y="603160"/>
                  </a:lnTo>
                  <a:close/>
                  <a:moveTo>
                    <a:pt x="0" y="496634"/>
                  </a:moveTo>
                  <a:lnTo>
                    <a:pt x="108000" y="496634"/>
                  </a:lnTo>
                  <a:lnTo>
                    <a:pt x="108000" y="603160"/>
                  </a:lnTo>
                  <a:lnTo>
                    <a:pt x="0" y="603160"/>
                  </a:lnTo>
                  <a:close/>
                  <a:moveTo>
                    <a:pt x="178311" y="327879"/>
                  </a:moveTo>
                  <a:lnTo>
                    <a:pt x="538311" y="327879"/>
                  </a:lnTo>
                  <a:lnTo>
                    <a:pt x="538311" y="434405"/>
                  </a:lnTo>
                  <a:lnTo>
                    <a:pt x="178311" y="434405"/>
                  </a:lnTo>
                  <a:close/>
                  <a:moveTo>
                    <a:pt x="0" y="327879"/>
                  </a:moveTo>
                  <a:lnTo>
                    <a:pt x="108000" y="327879"/>
                  </a:lnTo>
                  <a:lnTo>
                    <a:pt x="108000" y="434405"/>
                  </a:lnTo>
                  <a:lnTo>
                    <a:pt x="0" y="434405"/>
                  </a:lnTo>
                  <a:close/>
                  <a:moveTo>
                    <a:pt x="178311" y="161012"/>
                  </a:moveTo>
                  <a:lnTo>
                    <a:pt x="538311" y="161012"/>
                  </a:lnTo>
                  <a:lnTo>
                    <a:pt x="538311" y="267538"/>
                  </a:lnTo>
                  <a:lnTo>
                    <a:pt x="178311" y="267538"/>
                  </a:lnTo>
                  <a:close/>
                  <a:moveTo>
                    <a:pt x="0" y="161012"/>
                  </a:moveTo>
                  <a:lnTo>
                    <a:pt x="108000" y="161012"/>
                  </a:lnTo>
                  <a:lnTo>
                    <a:pt x="108000" y="267538"/>
                  </a:lnTo>
                  <a:lnTo>
                    <a:pt x="0" y="267538"/>
                  </a:lnTo>
                  <a:close/>
                  <a:moveTo>
                    <a:pt x="178311" y="0"/>
                  </a:moveTo>
                  <a:lnTo>
                    <a:pt x="538311" y="0"/>
                  </a:lnTo>
                  <a:lnTo>
                    <a:pt x="538311" y="106526"/>
                  </a:lnTo>
                  <a:lnTo>
                    <a:pt x="178311" y="106526"/>
                  </a:lnTo>
                  <a:close/>
                  <a:moveTo>
                    <a:pt x="0" y="0"/>
                  </a:moveTo>
                  <a:lnTo>
                    <a:pt x="108000" y="0"/>
                  </a:lnTo>
                  <a:lnTo>
                    <a:pt x="108000" y="106526"/>
                  </a:lnTo>
                  <a:lnTo>
                    <a:pt x="0" y="106526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Прямоугольник 78">
              <a:extLst>
                <a:ext uri="{FF2B5EF4-FFF2-40B4-BE49-F238E27FC236}">
                  <a16:creationId xmlns:a16="http://schemas.microsoft.com/office/drawing/2014/main" id="{83B61BBE-0CFB-47C1-9179-FBB66CE31706}"/>
                </a:ext>
              </a:extLst>
            </p:cNvPr>
            <p:cNvSpPr/>
            <p:nvPr/>
          </p:nvSpPr>
          <p:spPr>
            <a:xfrm>
              <a:off x="3484986" y="4647358"/>
              <a:ext cx="528146" cy="66979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4" name="Овал 80">
            <a:extLst>
              <a:ext uri="{FF2B5EF4-FFF2-40B4-BE49-F238E27FC236}">
                <a16:creationId xmlns:a16="http://schemas.microsoft.com/office/drawing/2014/main" id="{D99A2869-2BA9-452A-9EEE-564A55BDB0C3}"/>
              </a:ext>
            </a:extLst>
          </p:cNvPr>
          <p:cNvSpPr/>
          <p:nvPr/>
        </p:nvSpPr>
        <p:spPr>
          <a:xfrm>
            <a:off x="8919834" y="4342416"/>
            <a:ext cx="216000" cy="2160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5" name="Рисунок 82">
            <a:extLst>
              <a:ext uri="{FF2B5EF4-FFF2-40B4-BE49-F238E27FC236}">
                <a16:creationId xmlns:a16="http://schemas.microsoft.com/office/drawing/2014/main" id="{E620AEA5-DC2A-4E6B-A65E-AD4BAE7CA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7745" y="5501014"/>
            <a:ext cx="435421" cy="351764"/>
          </a:xfrm>
          <a:prstGeom prst="rect">
            <a:avLst/>
          </a:prstGeom>
        </p:spPr>
      </p:pic>
      <p:sp>
        <p:nvSpPr>
          <p:cNvPr id="36" name="Прямоугольник 83">
            <a:extLst>
              <a:ext uri="{FF2B5EF4-FFF2-40B4-BE49-F238E27FC236}">
                <a16:creationId xmlns:a16="http://schemas.microsoft.com/office/drawing/2014/main" id="{D176DC8E-3462-40BF-8C5B-378AF7E275A1}"/>
              </a:ext>
            </a:extLst>
          </p:cNvPr>
          <p:cNvSpPr/>
          <p:nvPr/>
        </p:nvSpPr>
        <p:spPr>
          <a:xfrm>
            <a:off x="10947565" y="5485206"/>
            <a:ext cx="7830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ea typeface="Arial" charset="0"/>
                <a:cs typeface="Arial" charset="0"/>
              </a:rPr>
              <a:t>ГОСТ Р</a:t>
            </a:r>
            <a:endParaRPr lang="ru-RU" sz="1400" b="1" dirty="0"/>
          </a:p>
        </p:txBody>
      </p:sp>
      <p:sp>
        <p:nvSpPr>
          <p:cNvPr id="37" name="Прямоугольник 84">
            <a:extLst>
              <a:ext uri="{FF2B5EF4-FFF2-40B4-BE49-F238E27FC236}">
                <a16:creationId xmlns:a16="http://schemas.microsoft.com/office/drawing/2014/main" id="{1250B494-96CE-4920-AB8F-7F2448C5AC8F}"/>
              </a:ext>
            </a:extLst>
          </p:cNvPr>
          <p:cNvSpPr/>
          <p:nvPr/>
        </p:nvSpPr>
        <p:spPr>
          <a:xfrm>
            <a:off x="10429249" y="5480113"/>
            <a:ext cx="6211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ea typeface="Arial" charset="0"/>
                <a:cs typeface="Arial" charset="0"/>
              </a:rPr>
              <a:t>ГОСТ</a:t>
            </a:r>
            <a:endParaRPr lang="ru-RU" sz="1400" b="1" dirty="0"/>
          </a:p>
        </p:txBody>
      </p:sp>
      <p:pic>
        <p:nvPicPr>
          <p:cNvPr id="38" name="Рисунок 85">
            <a:extLst>
              <a:ext uri="{FF2B5EF4-FFF2-40B4-BE49-F238E27FC236}">
                <a16:creationId xmlns:a16="http://schemas.microsoft.com/office/drawing/2014/main" id="{A14DC3DE-19D9-4536-8FA8-F1E3A89985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7745" y="6013113"/>
            <a:ext cx="985642" cy="485523"/>
          </a:xfrm>
          <a:prstGeom prst="rect">
            <a:avLst/>
          </a:prstGeom>
          <a:noFill/>
        </p:spPr>
      </p:pic>
      <p:sp>
        <p:nvSpPr>
          <p:cNvPr id="39" name="Прямоугольник 86">
            <a:extLst>
              <a:ext uri="{FF2B5EF4-FFF2-40B4-BE49-F238E27FC236}">
                <a16:creationId xmlns:a16="http://schemas.microsoft.com/office/drawing/2014/main" id="{34F1EC99-FBEE-4F13-A65F-5535D07473CF}"/>
              </a:ext>
            </a:extLst>
          </p:cNvPr>
          <p:cNvSpPr/>
          <p:nvPr/>
        </p:nvSpPr>
        <p:spPr>
          <a:xfrm>
            <a:off x="10510353" y="6246219"/>
            <a:ext cx="13540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70C0"/>
                </a:solidFill>
                <a:ea typeface="Arial" charset="0"/>
                <a:cs typeface="Arial" charset="0"/>
              </a:rPr>
              <a:t>СТО ГАЗПРОМ</a:t>
            </a:r>
            <a:endParaRPr lang="ru-RU" sz="1400" b="1" dirty="0">
              <a:solidFill>
                <a:srgbClr val="0070C0"/>
              </a:solidFill>
            </a:endParaRPr>
          </a:p>
        </p:txBody>
      </p:sp>
      <p:sp>
        <p:nvSpPr>
          <p:cNvPr id="40" name="Равнобедренный треугольник 12">
            <a:extLst>
              <a:ext uri="{FF2B5EF4-FFF2-40B4-BE49-F238E27FC236}">
                <a16:creationId xmlns:a16="http://schemas.microsoft.com/office/drawing/2014/main" id="{7EFC19D1-01BA-4010-A358-70DE897278E7}"/>
              </a:ext>
            </a:extLst>
          </p:cNvPr>
          <p:cNvSpPr/>
          <p:nvPr/>
        </p:nvSpPr>
        <p:spPr>
          <a:xfrm rot="5400000">
            <a:off x="8261441" y="5912026"/>
            <a:ext cx="1047629" cy="223299"/>
          </a:xfrm>
          <a:custGeom>
            <a:avLst/>
            <a:gdLst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0 w 2909461"/>
              <a:gd name="connsiteY3" fmla="*/ 536234 h 536234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  <a:gd name="connsiteX3" fmla="*/ 1308412 w 2909461"/>
              <a:gd name="connsiteY3" fmla="*/ 532978 h 536234"/>
              <a:gd name="connsiteX4" fmla="*/ 0 w 2909461"/>
              <a:gd name="connsiteY4" fmla="*/ 536234 h 536234"/>
              <a:gd name="connsiteX0" fmla="*/ 1308412 w 2909461"/>
              <a:gd name="connsiteY0" fmla="*/ 532978 h 624418"/>
              <a:gd name="connsiteX1" fmla="*/ 0 w 2909461"/>
              <a:gd name="connsiteY1" fmla="*/ 536234 h 624418"/>
              <a:gd name="connsiteX2" fmla="*/ 1454731 w 2909461"/>
              <a:gd name="connsiteY2" fmla="*/ 0 h 624418"/>
              <a:gd name="connsiteX3" fmla="*/ 2909461 w 2909461"/>
              <a:gd name="connsiteY3" fmla="*/ 536234 h 624418"/>
              <a:gd name="connsiteX4" fmla="*/ 1399852 w 2909461"/>
              <a:gd name="connsiteY4" fmla="*/ 624418 h 624418"/>
              <a:gd name="connsiteX0" fmla="*/ 0 w 2909461"/>
              <a:gd name="connsiteY0" fmla="*/ 536234 h 624418"/>
              <a:gd name="connsiteX1" fmla="*/ 1454731 w 2909461"/>
              <a:gd name="connsiteY1" fmla="*/ 0 h 624418"/>
              <a:gd name="connsiteX2" fmla="*/ 2909461 w 2909461"/>
              <a:gd name="connsiteY2" fmla="*/ 536234 h 624418"/>
              <a:gd name="connsiteX3" fmla="*/ 1399852 w 2909461"/>
              <a:gd name="connsiteY3" fmla="*/ 624418 h 624418"/>
              <a:gd name="connsiteX0" fmla="*/ 0 w 2909461"/>
              <a:gd name="connsiteY0" fmla="*/ 536234 h 536234"/>
              <a:gd name="connsiteX1" fmla="*/ 1454731 w 2909461"/>
              <a:gd name="connsiteY1" fmla="*/ 0 h 536234"/>
              <a:gd name="connsiteX2" fmla="*/ 2909461 w 2909461"/>
              <a:gd name="connsiteY2" fmla="*/ 536234 h 53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09461" h="536234">
                <a:moveTo>
                  <a:pt x="0" y="536234"/>
                </a:moveTo>
                <a:lnTo>
                  <a:pt x="1454731" y="0"/>
                </a:lnTo>
                <a:lnTo>
                  <a:pt x="2909461" y="536234"/>
                </a:lnTo>
              </a:path>
            </a:pathLst>
          </a:custGeom>
          <a:noFill/>
          <a:ln w="952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8FAC4B0-4891-4139-B113-1C56C09C05AB}"/>
              </a:ext>
            </a:extLst>
          </p:cNvPr>
          <p:cNvSpPr txBox="1"/>
          <p:nvPr/>
        </p:nvSpPr>
        <p:spPr bwMode="auto">
          <a:xfrm>
            <a:off x="720128" y="2902749"/>
            <a:ext cx="4352969" cy="17235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buClr>
                <a:schemeClr val="accent2"/>
              </a:buClr>
              <a:buSzPct val="85000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оссийские нормативные требования к проектированию, материалам и оборудованию, при необходимости и согласно договоренности, дополняемые международными нормативными требованиями и лучшими образцами мировой практики, в том числе, по мере возможности, посредством гармонизации этих требований с требованиями российских стандартов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Arrow: Down 41">
            <a:extLst>
              <a:ext uri="{FF2B5EF4-FFF2-40B4-BE49-F238E27FC236}">
                <a16:creationId xmlns:a16="http://schemas.microsoft.com/office/drawing/2014/main" id="{E9B96C33-FB4D-4ACB-9B3B-295839798A5A}"/>
              </a:ext>
            </a:extLst>
          </p:cNvPr>
          <p:cNvSpPr/>
          <p:nvPr/>
        </p:nvSpPr>
        <p:spPr>
          <a:xfrm>
            <a:off x="8791687" y="4273546"/>
            <a:ext cx="484632" cy="575019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43" name="Рисунок 48">
            <a:extLst>
              <a:ext uri="{FF2B5EF4-FFF2-40B4-BE49-F238E27FC236}">
                <a16:creationId xmlns:a16="http://schemas.microsoft.com/office/drawing/2014/main" id="{814D1A75-764B-4400-8440-0DDD8A47E2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70258"/>
          <a:stretch/>
        </p:blipFill>
        <p:spPr>
          <a:xfrm>
            <a:off x="10933046" y="3747405"/>
            <a:ext cx="402937" cy="3522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8FB916D8-0886-4051-AB0F-E8A0AF0A0623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813B306D-015A-4CFD-86A2-77FD61285C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6849008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CF897-D8E8-4D7D-89E1-BE454F7E6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589280"/>
            <a:ext cx="11171238" cy="646997"/>
          </a:xfrm>
        </p:spPr>
        <p:txBody>
          <a:bodyPr/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ект «Балтийский СПГ»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сложности при осуществлении локализации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301132-FA57-4EA7-8683-F03F88445F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4</a:t>
            </a:fld>
            <a:endParaRPr lang="en-GB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E03B27-298F-4C50-A198-B57EBCF84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A6B42F-0E06-4E84-99B6-9057ACCE7469}"/>
              </a:ext>
            </a:extLst>
          </p:cNvPr>
          <p:cNvSpPr txBox="1"/>
          <p:nvPr/>
        </p:nvSpPr>
        <p:spPr bwMode="auto">
          <a:xfrm>
            <a:off x="436880" y="1513840"/>
            <a:ext cx="11256872" cy="430322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ектирование завода СПГ на основе действующих российских технических норм и стандартов, а также вновь создаваемых технических стандартов для производства СПГ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епутация и доверие между партнерами, покупателями и кредиторам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оставление перечня критически важных материалов и оборудования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табильность производства с упором на локализацию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нкурентоспособность, риски, связанные с рыночной конъюнктурой, эксплуатационная готовность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Структурно оформленная централизованная система развития потенциала поставщиков – ключевое условие успешной реализации практического плана действий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дорожной карты локализации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457200" lvl="1" indent="-2222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Потенциальные возможности проектирования и реализации проектов СПГ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ое партнерство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и заключение контрактов на конкурентной основе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defTabSz="357708">
              <a:lnSpc>
                <a:spcPct val="13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мпетенции в области реализации проектов СПГ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граниченность внутрироссийского потенциала по управлению новым производством СПГ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357708">
              <a:lnSpc>
                <a:spcPct val="130000"/>
              </a:lnSpc>
              <a:buClr>
                <a:schemeClr val="accent2"/>
              </a:buClr>
              <a:buSzPct val="66000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атегическое партнерство между ПАО «Газпром» и «Шелл»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357708">
              <a:lnSpc>
                <a:spcPct val="130000"/>
              </a:lnSpc>
              <a:buClr>
                <a:schemeClr val="accent2"/>
              </a:buClr>
              <a:buSzPct val="66000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мен передовыми практическими методами работы, знаниями и компетенциями через передачу технологий и сотрудничество в области развития кадрового потенциала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E67BEF1F-B17B-4E92-9EC5-F5CFDE2D956D}"/>
              </a:ext>
            </a:extLst>
          </p:cNvPr>
          <p:cNvSpPr/>
          <p:nvPr/>
        </p:nvSpPr>
        <p:spPr>
          <a:xfrm>
            <a:off x="5051686" y="5816454"/>
            <a:ext cx="1980123" cy="278177"/>
          </a:xfrm>
          <a:prstGeom prst="downArrow">
            <a:avLst>
              <a:gd name="adj1" fmla="val 51681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2FCDA8-FCC6-495E-AE3E-5A1922347C31}"/>
              </a:ext>
            </a:extLst>
          </p:cNvPr>
          <p:cNvSpPr txBox="1"/>
          <p:nvPr/>
        </p:nvSpPr>
        <p:spPr bwMode="auto">
          <a:xfrm>
            <a:off x="2314575" y="5913918"/>
            <a:ext cx="8476058" cy="457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спешная реализация проекта «Балтийский СПГ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21D24F-339A-461B-AEF2-8EB5C94CDDFA}"/>
              </a:ext>
            </a:extLst>
          </p:cNvPr>
          <p:cNvSpPr/>
          <p:nvPr/>
        </p:nvSpPr>
        <p:spPr>
          <a:xfrm>
            <a:off x="8515350" y="6387561"/>
            <a:ext cx="1028700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74C616-FF7B-43FB-AB7C-BF77D9B67616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5777682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71D84-78CD-4E73-95C7-EF0283627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72370"/>
            <a:ext cx="11171238" cy="912825"/>
          </a:xfrm>
        </p:spPr>
        <p:txBody>
          <a:bodyPr/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уже производимого в России и локализованного оборудования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9FA125-FA60-4DCA-827F-7F243D8C10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5</a:t>
            </a:fld>
            <a:endParaRPr lang="en-GB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BB3F33-5904-42C9-972B-55ED92420A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07E938-F089-46F0-8BF7-80D79D4819FD}"/>
              </a:ext>
            </a:extLst>
          </p:cNvPr>
          <p:cNvSpPr txBox="1"/>
          <p:nvPr/>
        </p:nvSpPr>
        <p:spPr bwMode="auto">
          <a:xfrm>
            <a:off x="508000" y="1468504"/>
            <a:ext cx="10816177" cy="53489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indent="-234950" defTabSz="357708">
              <a:lnSpc>
                <a:spcPct val="15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Дорожная карта для локализации оборудования, разработанная по инициативе правительства Российской Федерации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34950" indent="-234950" defTabSz="357708">
              <a:lnSpc>
                <a:spcPct val="15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Необходимость участия и содействия со стороны </a:t>
            </a:r>
            <a:r>
              <a:rPr lang="ru-RU" sz="2100" b="1" u="sng" dirty="0">
                <a:latin typeface="Arial" panose="020B0604020202020204" pitchFamily="34" charset="0"/>
                <a:cs typeface="Arial" panose="020B0604020202020204" pitchFamily="34" charset="0"/>
              </a:rPr>
              <a:t>всех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 представителей отрасли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457200" lvl="1" indent="-222250" defTabSz="357708">
              <a:lnSpc>
                <a:spcPct val="15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труктурно оформленная централизованная система, поддерживаемая российским правительством, – ключевое условие успешной реализации программы развития потенциала российских поставщиков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457200" lvl="1" indent="-222250" defTabSz="357708">
              <a:lnSpc>
                <a:spcPct val="15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Значение фактора вовлеченности российских производителей на самых ранних этапах проекта с тем, чтобы они могли обеспечить соответствие корпоративным и проектным требованиям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</a:p>
          <a:p>
            <a:pPr marL="457200" lvl="1" indent="-222250" defTabSz="357708">
              <a:lnSpc>
                <a:spcPct val="150000"/>
              </a:lnSpc>
              <a:buClr>
                <a:schemeClr val="accent2"/>
              </a:buClr>
              <a:buSzPct val="66000"/>
              <a:buFont typeface="Wingdings" panose="05000000000000000000" pitchFamily="2" charset="2"/>
              <a:buChar char="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гласованный подход к выявлению, квалификационной оценке и сертификации поставщиков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7708">
              <a:lnSpc>
                <a:spcPct val="150000"/>
              </a:lnSpc>
              <a:buClr>
                <a:schemeClr val="accent2"/>
              </a:buClr>
              <a:buSzPct val="85000"/>
            </a:pP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1613" indent="-201613" defTabSz="357708">
              <a:lnSpc>
                <a:spcPct val="15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-RU" sz="2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1613" indent="-201613" defTabSz="357708">
              <a:lnSpc>
                <a:spcPct val="15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en-US" sz="21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58DA4E-1CA5-49BB-AB8F-E40F25CC047E}"/>
              </a:ext>
            </a:extLst>
          </p:cNvPr>
          <p:cNvSpPr/>
          <p:nvPr/>
        </p:nvSpPr>
        <p:spPr>
          <a:xfrm>
            <a:off x="8515350" y="6387561"/>
            <a:ext cx="1028700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C30534-A580-4A95-8AB0-3E3B33EA39E8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2611892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7D3D9A-A241-4F92-AA8E-A83BA5C2B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6</a:t>
            </a:fld>
            <a:endParaRPr lang="ru" noProof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38A3AF-F2C7-45AE-8F34-647871A6D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5499" y="4003696"/>
            <a:ext cx="5325967" cy="834301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</a:rPr>
              <a:t>Совместная квалификация российских поставщиков</a:t>
            </a:r>
            <a:endParaRPr lang="ru" b="1" dirty="0"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290AAD-D675-4BFD-9BB1-220D171EEE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500" y="5361660"/>
            <a:ext cx="5187731" cy="237600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Лариса Карпова</a:t>
            </a:r>
            <a:endParaRPr lang="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4E89DC-C735-4209-A2DB-B862693183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5499" y="5619064"/>
            <a:ext cx="6240367" cy="237600"/>
          </a:xfrm>
        </p:spPr>
        <p:txBody>
          <a:bodyPr/>
          <a:lstStyle/>
          <a:p>
            <a:pPr algn="l" rtl="0"/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ачальник отдела организации проектной работы и </a:t>
            </a:r>
            <a:r>
              <a:rPr lang="ru-RU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МТС</a:t>
            </a: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в регионах </a:t>
            </a:r>
            <a:r>
              <a:rPr lang="ru-RU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ЕБВА</a:t>
            </a:r>
            <a:endParaRPr lang="ru-RU" b="0" i="0" u="none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/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Менеджер по контролю российского участия, проект "Балтийский </a:t>
            </a:r>
            <a:r>
              <a:rPr lang="ru-RU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F9CA93E-17A8-4CE7-9784-E592F39C6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rtl="0">
              <a:defRPr/>
            </a:pPr>
            <a:r>
              <a:rPr lang="ru-RU" b="0" i="0" u="none" baseline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C01579-C924-4332-A2EB-565104AE4A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437" y="719528"/>
            <a:ext cx="5497069" cy="412618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4905372-5679-4EA0-ACE6-2F3FCC850B31}"/>
              </a:ext>
            </a:extLst>
          </p:cNvPr>
          <p:cNvSpPr/>
          <p:nvPr/>
        </p:nvSpPr>
        <p:spPr>
          <a:xfrm>
            <a:off x="512260" y="6268761"/>
            <a:ext cx="1490254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43240568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ратегия локализации - проект "Балтийский </a:t>
            </a:r>
            <a:r>
              <a:rPr lang="ru-RU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, РФ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24177" y="6448773"/>
            <a:ext cx="355061" cy="258026"/>
          </a:xfrm>
        </p:spPr>
        <p:txBody>
          <a:bodyPr/>
          <a:lstStyle/>
          <a:p>
            <a:pPr algn="r" rtl="0"/>
            <a:r>
              <a:rPr lang="ru-RU" b="0" i="0" u="none" baseline="0" dirty="0"/>
              <a:t>7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1"/>
          </p:nvPr>
        </p:nvSpPr>
        <p:spPr>
          <a:xfrm>
            <a:off x="4283045" y="1901304"/>
            <a:ext cx="3423494" cy="3833099"/>
          </a:xfrm>
        </p:spPr>
        <p:txBody>
          <a:bodyPr/>
          <a:lstStyle/>
          <a:p>
            <a:pPr lvl="1" algn="l" rtl="0">
              <a:lnSpc>
                <a:spcPct val="100000"/>
              </a:lnSpc>
            </a:pP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Двусторонняя рабочая группа 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концерна "Шелл" и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 по развитию потенциала российских поставщиков в рамках проекта "Балтийский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";</a:t>
            </a:r>
          </a:p>
          <a:p>
            <a:pPr lvl="1" algn="l" rtl="0">
              <a:lnSpc>
                <a:spcPct val="100000"/>
              </a:lnSpc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 rtl="0">
              <a:lnSpc>
                <a:spcPct val="100000"/>
              </a:lnSpc>
            </a:pP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Взаимодействие с российскими производителями на ранних этапах 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 целью наиболее полного ознакомления производителей со специфическими требованиями проекта;</a:t>
            </a:r>
          </a:p>
          <a:p>
            <a:pPr lvl="1" algn="l" rtl="0">
              <a:lnSpc>
                <a:spcPct val="100000"/>
              </a:lnSpc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 rtl="0">
              <a:lnSpc>
                <a:spcPct val="100000"/>
              </a:lnSpc>
            </a:pP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роведение совместного аудита и квалификации, программа развития потенциала 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концерна "Шелл" и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 для повышения квалификации российских производителей с целью расширения деятельности в России и за рубежом;</a:t>
            </a:r>
          </a:p>
          <a:p>
            <a:pPr lvl="1" algn="l" rtl="0">
              <a:lnSpc>
                <a:spcPct val="100000"/>
              </a:lnSpc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 rtl="0">
              <a:lnSpc>
                <a:spcPct val="10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оддержка концерном "Шелл" и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 деятельности по </a:t>
            </a: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локализации производства международных компаний-производителей в России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для налаживания выпуска в РФ узкоспециализированного оборудования.</a:t>
            </a:r>
          </a:p>
          <a:p>
            <a:pPr lvl="1" algn="l" rtl="0">
              <a:lnSpc>
                <a:spcPct val="100000"/>
              </a:lnSpc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 rtl="0">
              <a:lnSpc>
                <a:spcPct val="100000"/>
              </a:lnSpc>
            </a:pPr>
            <a:endParaRPr lang="ru" sz="1200" dirty="0"/>
          </a:p>
          <a:p>
            <a:pPr marL="0" lvl="1" indent="0" algn="l" rtl="0">
              <a:lnSpc>
                <a:spcPct val="100000"/>
              </a:lnSpc>
              <a:buNone/>
            </a:pPr>
            <a:endParaRPr lang="ru" sz="1200" dirty="0"/>
          </a:p>
        </p:txBody>
      </p:sp>
      <p:sp>
        <p:nvSpPr>
          <p:cNvPr id="7" name="Content Placeholder 3"/>
          <p:cNvSpPr txBox="1">
            <a:spLocks/>
          </p:cNvSpPr>
          <p:nvPr/>
        </p:nvSpPr>
        <p:spPr bwMode="auto">
          <a:xfrm>
            <a:off x="8087558" y="1901304"/>
            <a:ext cx="3423494" cy="4001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Максимальное увеличение доли российского участия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в совместных проектах "Шелл" и Газпрома в РФ;</a:t>
            </a: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kumimoji="0" lang="ru-RU" sz="12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фундамента для разработки технических стандартов российской отрасли производства </a:t>
            </a:r>
            <a:r>
              <a:rPr kumimoji="0" lang="ru-RU" sz="1200" b="1" i="0" u="none" strike="noStrike" kern="1200" cap="none" spc="0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за счет применения российских технических норм и стандартов при проектировании завода "Балтийский </a:t>
            </a:r>
            <a:r>
              <a:rPr kumimoji="0" lang="ru-RU" sz="1200" b="0" i="0" u="none" strike="noStrike" kern="1200" cap="none" spc="0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", а также гармонизации российских требований с международными стандартами;</a:t>
            </a: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ru-RU" sz="12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звитие экспортного потенциала российских производителей 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 их успешной конкуренции с другими компаниями на внешних рынках.</a:t>
            </a: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lang="ru" sz="1200" dirty="0"/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lang="ru" sz="1200" dirty="0"/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899886" y="1272965"/>
            <a:ext cx="2627086" cy="344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algn="l" defTabSz="357708" rtl="0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ru" sz="1600" dirty="0">
              <a:solidFill>
                <a:srgbClr val="595959"/>
              </a:solidFill>
            </a:endParaRPr>
          </a:p>
        </p:txBody>
      </p:sp>
      <p:sp>
        <p:nvSpPr>
          <p:cNvPr id="10" name="Rectangle 23"/>
          <p:cNvSpPr/>
          <p:nvPr/>
        </p:nvSpPr>
        <p:spPr>
          <a:xfrm>
            <a:off x="497150" y="1358739"/>
            <a:ext cx="3284737" cy="3654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lvl="2" algn="l" defTabSz="268288" rtl="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50000"/>
              <a:tabLst>
                <a:tab pos="338138" algn="l"/>
              </a:tabLst>
              <a:defRPr/>
            </a:pPr>
            <a:r>
              <a:rPr lang="ru-RU" sz="1800" b="1" i="0" u="non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факторы</a:t>
            </a:r>
          </a:p>
        </p:txBody>
      </p:sp>
      <p:sp>
        <p:nvSpPr>
          <p:cNvPr id="11" name="Rectangle 23"/>
          <p:cNvSpPr/>
          <p:nvPr/>
        </p:nvSpPr>
        <p:spPr>
          <a:xfrm>
            <a:off x="4283045" y="1358739"/>
            <a:ext cx="3338003" cy="3654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lvl="2" algn="l" defTabSz="268288" rtl="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50000"/>
              <a:tabLst>
                <a:tab pos="338138" algn="l"/>
              </a:tabLst>
              <a:defRPr/>
            </a:pPr>
            <a:r>
              <a:rPr lang="ru-RU" sz="1800" b="1" i="0" u="non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ы </a:t>
            </a:r>
          </a:p>
        </p:txBody>
      </p:sp>
      <p:sp>
        <p:nvSpPr>
          <p:cNvPr id="12" name="Rectangle 23"/>
          <p:cNvSpPr/>
          <p:nvPr/>
        </p:nvSpPr>
        <p:spPr>
          <a:xfrm>
            <a:off x="7772400" y="1358739"/>
            <a:ext cx="3738652" cy="3654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lvl="2" algn="l" defTabSz="268288" rtl="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50000"/>
              <a:tabLst>
                <a:tab pos="338138" algn="l"/>
              </a:tabLst>
              <a:defRPr/>
            </a:pPr>
            <a:r>
              <a:rPr lang="ru-RU" sz="1800" b="1" i="0" u="non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ируемые результаты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0FE686-0DCF-4168-AF7B-802AE821ABA3}"/>
              </a:ext>
            </a:extLst>
          </p:cNvPr>
          <p:cNvSpPr/>
          <p:nvPr/>
        </p:nvSpPr>
        <p:spPr>
          <a:xfrm>
            <a:off x="497150" y="6281044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 err="1">
              <a:solidFill>
                <a:srgbClr val="FF0000"/>
              </a:solidFill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497150" y="1901304"/>
            <a:ext cx="3404876" cy="454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ru-RU" sz="12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нициатива по развитию потенциала российских производителей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Правительства РФ для содействия </a:t>
            </a:r>
            <a:r>
              <a:rPr kumimoji="0" lang="ru-RU" sz="1200" b="0" i="0" u="none" strike="noStrike" kern="1200" cap="none" spc="0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мпортозамещению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в РФ) и повышению конкурентоспособности на мировых рынках;</a:t>
            </a: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ru-RU" sz="12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орожная карта 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 развитию локализации и постановления Правительства РФ; необходимость разработки отечественной 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технологии производства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наработки опыта и развития компетенций;</a:t>
            </a: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lvl="1" indent="-230400" algn="l" defTabSz="357708" rtl="0">
              <a:buClr>
                <a:schemeClr val="accent2"/>
              </a:buClr>
              <a:buSzPct val="85000"/>
              <a:buFont typeface="Wingdings" pitchFamily="2" charset="2"/>
              <a:buChar char="n"/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овышение доли российского участия и увеличение капитализации производства в РФ, как неотъемлемая часть </a:t>
            </a: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ратегии развития бизнеса "Шелл"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в России;</a:t>
            </a:r>
          </a:p>
          <a:p>
            <a:pPr marL="230400" lvl="1" indent="-230400" algn="l" defTabSz="357708" rtl="0">
              <a:buClr>
                <a:schemeClr val="accent2"/>
              </a:buClr>
              <a:buSzPct val="85000"/>
              <a:buFont typeface="Wingdings" pitchFamily="2" charset="2"/>
              <a:buChar char="n"/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Упор на приоритетное развитие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отрасли производства </a:t>
            </a:r>
            <a:r>
              <a:rPr lang="ru-RU" sz="12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в РФ с применением российских технологий и оборудования, задекларированный </a:t>
            </a:r>
            <a:r>
              <a:rPr lang="ru-RU" sz="1200" b="1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ПАО</a:t>
            </a: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"Газпром"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на уровне стратегии компании. </a:t>
            </a:r>
          </a:p>
          <a:p>
            <a:pPr marL="230400" marR="0" lvl="1" indent="-23040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ru" sz="1200" b="0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1" indent="0" algn="l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09481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0A05A53-1067-4CCB-AEBD-0FC50935E3E2}"/>
              </a:ext>
            </a:extLst>
          </p:cNvPr>
          <p:cNvSpPr/>
          <p:nvPr/>
        </p:nvSpPr>
        <p:spPr>
          <a:xfrm>
            <a:off x="2888786" y="5159384"/>
            <a:ext cx="6589022" cy="887455"/>
          </a:xfrm>
          <a:prstGeom prst="rect">
            <a:avLst/>
          </a:prstGeom>
          <a:solidFill>
            <a:srgbClr val="FDE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AB68B0-7B04-42E4-B06E-201697CF019D}"/>
              </a:ext>
            </a:extLst>
          </p:cNvPr>
          <p:cNvSpPr/>
          <p:nvPr/>
        </p:nvSpPr>
        <p:spPr>
          <a:xfrm>
            <a:off x="508000" y="1177558"/>
            <a:ext cx="11423588" cy="3702153"/>
          </a:xfrm>
          <a:prstGeom prst="roundRect">
            <a:avLst/>
          </a:prstGeom>
          <a:solidFill>
            <a:srgbClr val="FDE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" sz="1600" u="sng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C46BBA-3EF8-4128-93FC-BB504BD86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20" y="668521"/>
            <a:ext cx="11423588" cy="752475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Критерии оценки оборудования и материалов по уровню критичности</a:t>
            </a:r>
            <a:endParaRPr lang="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11E262-E7F4-425A-BE5E-78CFB227D55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56412" y="2113287"/>
            <a:ext cx="5139588" cy="2697322"/>
          </a:xfr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1440" tIns="91440" rIns="91440" bIns="91440"/>
          <a:lstStyle/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е критерии по видам оборудования, например,</a:t>
            </a:r>
          </a:p>
          <a:p>
            <a:pPr lvl="3" indent="0" algn="l" rtl="0">
              <a:lnSpc>
                <a:spcPct val="120000"/>
              </a:lnSpc>
              <a:buNone/>
            </a:pPr>
            <a:r>
              <a:rPr lang="ru-RU" sz="1200" b="0" i="1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ческое и динамическое оборудование: допустимое рабочее давление,</a:t>
            </a:r>
          </a:p>
          <a:p>
            <a:pPr lvl="3" indent="0" algn="l" rtl="0">
              <a:lnSpc>
                <a:spcPct val="120000"/>
              </a:lnSpc>
              <a:buNone/>
            </a:pPr>
            <a:r>
              <a:rPr lang="ru-RU" sz="1200" b="0" i="1" u="none" baseline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ПиА</a:t>
            </a:r>
            <a:r>
              <a:rPr lang="ru-RU" sz="1200" b="0" i="1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уровень ответственности для обеспечения безопасности,</a:t>
            </a:r>
          </a:p>
          <a:p>
            <a:pPr lvl="3" indent="0" algn="l" rtl="0">
              <a:lnSpc>
                <a:spcPct val="120000"/>
              </a:lnSpc>
              <a:buNone/>
            </a:pPr>
            <a:r>
              <a:rPr lang="ru-RU" sz="1200" b="0" i="1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оборудование: Напряжение и сила тока,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работки конструкционных решений (новая или опробованная/испытанная конструкция),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ожность в производстве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работы поставщиков и производителей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утствующие коммерческие убытки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ремонта или замены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AB3DF4-0BC8-49DC-8BD7-8393E910A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8</a:t>
            </a:fld>
            <a:endParaRPr lang="ru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4A46D0-4290-4E35-84E2-2540C911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53649" y="6145199"/>
            <a:ext cx="2232066" cy="290247"/>
          </a:xfrm>
        </p:spPr>
        <p:txBody>
          <a:bodyPr/>
          <a:lstStyle/>
          <a:p>
            <a:pPr rtl="0">
              <a:defRPr/>
            </a:pPr>
            <a:r>
              <a:rPr lang="ru-RU" sz="1200" b="0" i="0" u="none" baseline="0" dirty="0"/>
              <a:t> </a:t>
            </a:r>
            <a:r>
              <a:rPr lang="ru-RU" sz="1400" b="0" i="0" u="none" baseline="0" dirty="0">
                <a:latin typeface="Arial" panose="020B0604020202020204" pitchFamily="34" charset="0"/>
              </a:rPr>
              <a:t>Полномасштабный аудит Заказчика</a:t>
            </a:r>
            <a:endParaRPr lang="ru" sz="1600" noProof="1">
              <a:latin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BB93D7A-597E-4073-9CDF-81A28A7A6890}"/>
              </a:ext>
            </a:extLst>
          </p:cNvPr>
          <p:cNvSpPr txBox="1">
            <a:spLocks/>
          </p:cNvSpPr>
          <p:nvPr/>
        </p:nvSpPr>
        <p:spPr bwMode="auto">
          <a:xfrm>
            <a:off x="6336430" y="2065066"/>
            <a:ext cx="5140111" cy="2744017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" sz="1600" u="sng" dirty="0"/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оимость оборудования или его ремонта/замены 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Тип, соответствие профилю использования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ложность в производстве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Гибкость графика производства, вероятность воздействия на график реализации проекта</a:t>
            </a:r>
          </a:p>
          <a:p>
            <a:pPr lvl="2" algn="l" rtl="0">
              <a:lnSpc>
                <a:spcPct val="120000"/>
              </a:lnSpc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тоимость (объем) заказа или стоимость ремонта/замены</a:t>
            </a:r>
          </a:p>
          <a:p>
            <a:pPr algn="l" rtl="0">
              <a:lnSpc>
                <a:spcPct val="120000"/>
              </a:lnSpc>
            </a:pPr>
            <a:endParaRPr lang="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" sz="1200" dirty="0"/>
          </a:p>
          <a:p>
            <a:endParaRPr lang="ru" sz="1200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F942409F-D9F1-4176-A816-9EB30A3FB444}"/>
              </a:ext>
            </a:extLst>
          </p:cNvPr>
          <p:cNvSpPr/>
          <p:nvPr/>
        </p:nvSpPr>
        <p:spPr>
          <a:xfrm rot="5400000">
            <a:off x="2902811" y="4817718"/>
            <a:ext cx="639096" cy="73741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3DD51B4-24E4-4C5F-A057-71466662664C}"/>
              </a:ext>
            </a:extLst>
          </p:cNvPr>
          <p:cNvSpPr/>
          <p:nvPr/>
        </p:nvSpPr>
        <p:spPr>
          <a:xfrm rot="5400000">
            <a:off x="8824687" y="4824135"/>
            <a:ext cx="639096" cy="73741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68EA28-938E-465D-A7EE-FBF02050529A}"/>
              </a:ext>
            </a:extLst>
          </p:cNvPr>
          <p:cNvSpPr/>
          <p:nvPr/>
        </p:nvSpPr>
        <p:spPr>
          <a:xfrm>
            <a:off x="3326307" y="5622591"/>
            <a:ext cx="1759408" cy="349649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B93F6A-0A76-4905-AFFC-C0B2F5F84F39}"/>
              </a:ext>
            </a:extLst>
          </p:cNvPr>
          <p:cNvSpPr/>
          <p:nvPr/>
        </p:nvSpPr>
        <p:spPr>
          <a:xfrm>
            <a:off x="5303593" y="5618208"/>
            <a:ext cx="1759408" cy="349649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редний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21594D-AA60-4625-B6A7-BABB05BFBFCC}"/>
              </a:ext>
            </a:extLst>
          </p:cNvPr>
          <p:cNvSpPr/>
          <p:nvPr/>
        </p:nvSpPr>
        <p:spPr>
          <a:xfrm>
            <a:off x="7234192" y="5616935"/>
            <a:ext cx="1759408" cy="349649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изкий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3FEB20-BC54-4582-9A11-82218D05AE28}"/>
              </a:ext>
            </a:extLst>
          </p:cNvPr>
          <p:cNvSpPr txBox="1"/>
          <p:nvPr/>
        </p:nvSpPr>
        <p:spPr bwMode="auto">
          <a:xfrm>
            <a:off x="3591069" y="5147093"/>
            <a:ext cx="5184456" cy="3434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357708" rtl="0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ru-RU" sz="180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Ранжирование по уровню критичности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98CADA-04EE-462A-AC8E-26F920FA45FD}"/>
              </a:ext>
            </a:extLst>
          </p:cNvPr>
          <p:cNvSpPr/>
          <p:nvPr/>
        </p:nvSpPr>
        <p:spPr>
          <a:xfrm rot="5400000">
            <a:off x="3310358" y="-671837"/>
            <a:ext cx="431180" cy="5139069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rtl="0"/>
            <a:r>
              <a:rPr lang="ru-RU" sz="16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я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50EA87-DE14-49D3-8198-E77AE7C9A129}"/>
              </a:ext>
            </a:extLst>
          </p:cNvPr>
          <p:cNvSpPr/>
          <p:nvPr/>
        </p:nvSpPr>
        <p:spPr>
          <a:xfrm rot="5400000">
            <a:off x="8690656" y="-664753"/>
            <a:ext cx="431180" cy="51395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rtl="0"/>
            <a:r>
              <a:rPr lang="ru-RU" sz="16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012820-10A0-4DA6-8319-9704C99BF729}"/>
              </a:ext>
            </a:extLst>
          </p:cNvPr>
          <p:cNvSpPr/>
          <p:nvPr/>
        </p:nvSpPr>
        <p:spPr>
          <a:xfrm>
            <a:off x="3055800" y="1312775"/>
            <a:ext cx="6322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Ранжирование по уровню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ритичности</a:t>
            </a:r>
            <a:r>
              <a:rPr lang="ru-RU" sz="18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на основе оценки: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5440FAA1-4C3B-4BAE-A899-CAABC4BBE3A6}"/>
              </a:ext>
            </a:extLst>
          </p:cNvPr>
          <p:cNvSpPr txBox="1">
            <a:spLocks/>
          </p:cNvSpPr>
          <p:nvPr/>
        </p:nvSpPr>
        <p:spPr bwMode="auto">
          <a:xfrm>
            <a:off x="5238115" y="6145198"/>
            <a:ext cx="1759408" cy="290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ru"/>
            </a:defPPr>
            <a:lvl1pPr marL="0" algn="ctr" defTabSz="121917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ru-RU" sz="1200" b="0" i="0" u="none" baseline="0" dirty="0"/>
              <a:t> </a:t>
            </a:r>
            <a:r>
              <a:rPr lang="ru-RU" sz="1400" b="0" i="0" u="none" baseline="0" dirty="0">
                <a:latin typeface="Arial" panose="020B0604020202020204" pitchFamily="34" charset="0"/>
              </a:rPr>
              <a:t>Стандартный внешний аудит</a:t>
            </a:r>
            <a:endParaRPr lang="ru" sz="1600" noProof="1">
              <a:latin typeface="Arial" panose="020B0604020202020204" pitchFamily="34" charset="0"/>
            </a:endParaRP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D25A1A61-7C2E-406D-AD5F-96373DA39819}"/>
              </a:ext>
            </a:extLst>
          </p:cNvPr>
          <p:cNvSpPr txBox="1">
            <a:spLocks/>
          </p:cNvSpPr>
          <p:nvPr/>
        </p:nvSpPr>
        <p:spPr bwMode="auto">
          <a:xfrm>
            <a:off x="7215784" y="6133888"/>
            <a:ext cx="1759408" cy="290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ru"/>
            </a:defPPr>
            <a:lvl1pPr marL="0" algn="ctr" defTabSz="121917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ru-RU" sz="1200" b="0" i="0" u="none" baseline="0" dirty="0"/>
              <a:t> </a:t>
            </a:r>
            <a:r>
              <a:rPr lang="ru-RU" sz="1400" b="0" i="0" u="none" baseline="0" dirty="0">
                <a:latin typeface="Arial" panose="020B0604020202020204" pitchFamily="34" charset="0"/>
              </a:rPr>
              <a:t>Стандартный внешний аудит</a:t>
            </a:r>
            <a:endParaRPr lang="ru" sz="1600" noProof="1">
              <a:latin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9B390EB-A64E-4EB9-8793-F7DD126D8673}"/>
              </a:ext>
            </a:extLst>
          </p:cNvPr>
          <p:cNvSpPr/>
          <p:nvPr/>
        </p:nvSpPr>
        <p:spPr>
          <a:xfrm>
            <a:off x="325278" y="631980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232322104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2220A39-650E-4617-AE0D-4550D93EA099}"/>
              </a:ext>
            </a:extLst>
          </p:cNvPr>
          <p:cNvSpPr/>
          <p:nvPr/>
        </p:nvSpPr>
        <p:spPr>
          <a:xfrm>
            <a:off x="510382" y="2361097"/>
            <a:ext cx="6895729" cy="3140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C93C09-DE48-4B1E-A5F5-A898CF248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93" y="569374"/>
            <a:ext cx="11171238" cy="752475"/>
          </a:xfrm>
        </p:spPr>
        <p:txBody>
          <a:bodyPr/>
          <a:lstStyle/>
          <a:p>
            <a:pPr algn="l" rtl="0"/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Аттестация поставщиков – своевременность проведения гарантирует возможности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1E7F9B9-92F8-4141-ABDE-E032D615681D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246109769"/>
              </p:ext>
            </p:extLst>
          </p:nvPr>
        </p:nvGraphicFramePr>
        <p:xfrm>
          <a:off x="510381" y="1736984"/>
          <a:ext cx="11171238" cy="497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7D6DFA-35D7-4F42-8BC3-C5B5E53EE9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D32BAE6A-B452-4007-8177-56DD051636F9}" type="slidenum">
              <a:rPr/>
              <a:pPr algn="r" rtl="0"/>
              <a:t>9</a:t>
            </a:fld>
            <a:endParaRPr lang="ru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A65382-0DFA-4FB0-9A6D-BDAEDAF9BA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rtl="0">
              <a:defRPr/>
            </a:pPr>
            <a:r>
              <a:rPr lang="ru-RU" b="0" i="0" u="none" baseline="0"/>
              <a:t> </a:t>
            </a:r>
          </a:p>
        </p:txBody>
      </p:sp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C894AF64-8D6C-432F-8F10-9978C7AAB000}"/>
              </a:ext>
            </a:extLst>
          </p:cNvPr>
          <p:cNvSpPr/>
          <p:nvPr/>
        </p:nvSpPr>
        <p:spPr>
          <a:xfrm>
            <a:off x="718350" y="3057095"/>
            <a:ext cx="3869561" cy="804852"/>
          </a:xfrm>
          <a:prstGeom prst="flowChartProcess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е с </a:t>
            </a:r>
            <a:r>
              <a:rPr lang="ru-RU" sz="12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высоким риском</a:t>
            </a: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/длительными сроками поставки</a:t>
            </a:r>
          </a:p>
          <a:p>
            <a:pPr algn="ctr" rtl="0"/>
            <a:r>
              <a:rPr lang="ru-RU" sz="1200" b="0" i="1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(например, главный криогенный теплообменник, газовые турбины, мощные компрессоры)</a:t>
            </a:r>
          </a:p>
        </p:txBody>
      </p:sp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45710A4E-1BA7-42C1-B5B4-2A4854126F58}"/>
              </a:ext>
            </a:extLst>
          </p:cNvPr>
          <p:cNvSpPr/>
          <p:nvPr/>
        </p:nvSpPr>
        <p:spPr>
          <a:xfrm>
            <a:off x="3249048" y="3879510"/>
            <a:ext cx="3032773" cy="771737"/>
          </a:xfrm>
          <a:prstGeom prst="flowChartProcess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е и материалы </a:t>
            </a:r>
            <a:r>
              <a:rPr lang="ru-RU" sz="16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о средним риском</a:t>
            </a:r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056A4B5-E938-4DEB-9B30-68F02A8BC287}"/>
              </a:ext>
            </a:extLst>
          </p:cNvPr>
          <p:cNvSpPr/>
          <p:nvPr/>
        </p:nvSpPr>
        <p:spPr>
          <a:xfrm>
            <a:off x="4267200" y="4725776"/>
            <a:ext cx="3138912" cy="713110"/>
          </a:xfrm>
          <a:prstGeom prst="flowChartProcess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е и материалы </a:t>
            </a:r>
            <a:r>
              <a:rPr lang="ru-RU" sz="16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с низким риском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92D26719-1C84-46AE-87E9-B321A7756BCB}"/>
              </a:ext>
            </a:extLst>
          </p:cNvPr>
          <p:cNvSpPr/>
          <p:nvPr/>
        </p:nvSpPr>
        <p:spPr>
          <a:xfrm>
            <a:off x="9218625" y="2384934"/>
            <a:ext cx="2592375" cy="2088132"/>
          </a:xfrm>
          <a:prstGeom prst="wedgeRectCallout">
            <a:avLst>
              <a:gd name="adj1" fmla="val -85309"/>
              <a:gd name="adj2" fmla="val 22719"/>
            </a:avLst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l" defTabSz="357708" rtl="0">
              <a:spcBef>
                <a:spcPts val="6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олный перечень квалифицированных поставщиков для составления пакета документации по EPC-тендеру; </a:t>
            </a:r>
          </a:p>
          <a:p>
            <a:pPr marL="285750" indent="-285750" algn="l" defTabSz="357708" rtl="0">
              <a:spcBef>
                <a:spcPts val="6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ru-RU" sz="12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Требования и обязательства по соблюдению доли российского участия для EPC-подрядчика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C08B8C-A6AF-40F2-A8CE-F21A67B0AD41}"/>
              </a:ext>
            </a:extLst>
          </p:cNvPr>
          <p:cNvSpPr/>
          <p:nvPr/>
        </p:nvSpPr>
        <p:spPr>
          <a:xfrm>
            <a:off x="718350" y="2516698"/>
            <a:ext cx="5325242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Аттестация и квалификация поставщиков </a:t>
            </a:r>
          </a:p>
        </p:txBody>
      </p:sp>
      <p:sp>
        <p:nvSpPr>
          <p:cNvPr id="14" name="Flowchart: Process 13">
            <a:extLst>
              <a:ext uri="{FF2B5EF4-FFF2-40B4-BE49-F238E27FC236}">
                <a16:creationId xmlns:a16="http://schemas.microsoft.com/office/drawing/2014/main" id="{1700EA16-516D-447B-980F-533310296ABC}"/>
              </a:ext>
            </a:extLst>
          </p:cNvPr>
          <p:cNvSpPr/>
          <p:nvPr/>
        </p:nvSpPr>
        <p:spPr>
          <a:xfrm>
            <a:off x="4566454" y="5795843"/>
            <a:ext cx="6923634" cy="632902"/>
          </a:xfrm>
          <a:prstGeom prst="flowChartProcess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Программа квалификации и развития потенциала поставщиков</a:t>
            </a:r>
          </a:p>
        </p:txBody>
      </p:sp>
      <p:pic>
        <p:nvPicPr>
          <p:cNvPr id="20" name="Graphic 19" descr="Checklist">
            <a:extLst>
              <a:ext uri="{FF2B5EF4-FFF2-40B4-BE49-F238E27FC236}">
                <a16:creationId xmlns:a16="http://schemas.microsoft.com/office/drawing/2014/main" id="{5BA5BB12-303D-4EDA-8DB1-D7201124F09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80361" y="3090742"/>
            <a:ext cx="914400" cy="914400"/>
          </a:xfrm>
          <a:prstGeom prst="rect">
            <a:avLst/>
          </a:prstGeom>
        </p:spPr>
      </p:pic>
      <p:pic>
        <p:nvPicPr>
          <p:cNvPr id="21" name="Graphic 20" descr="Checklist">
            <a:extLst>
              <a:ext uri="{FF2B5EF4-FFF2-40B4-BE49-F238E27FC236}">
                <a16:creationId xmlns:a16="http://schemas.microsoft.com/office/drawing/2014/main" id="{0804AC34-72C4-4AD5-8B8E-C091D2C8D3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71071" y="3494818"/>
            <a:ext cx="914400" cy="914400"/>
          </a:xfrm>
          <a:prstGeom prst="rect">
            <a:avLst/>
          </a:prstGeom>
        </p:spPr>
      </p:pic>
      <p:sp>
        <p:nvSpPr>
          <p:cNvPr id="25" name="Arrow: Bent-Up 24">
            <a:extLst>
              <a:ext uri="{FF2B5EF4-FFF2-40B4-BE49-F238E27FC236}">
                <a16:creationId xmlns:a16="http://schemas.microsoft.com/office/drawing/2014/main" id="{EA9A2CEA-88CF-49B0-BC48-F345FCE9FF11}"/>
              </a:ext>
            </a:extLst>
          </p:cNvPr>
          <p:cNvSpPr/>
          <p:nvPr/>
        </p:nvSpPr>
        <p:spPr>
          <a:xfrm rot="5400000">
            <a:off x="2706251" y="4411770"/>
            <a:ext cx="781967" cy="2962177"/>
          </a:xfrm>
          <a:prstGeom prst="bent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sz="1600" dirty="0"/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56A1EA37-24DC-4F4C-B5D2-8FF9D9A71669}"/>
              </a:ext>
            </a:extLst>
          </p:cNvPr>
          <p:cNvSpPr/>
          <p:nvPr/>
        </p:nvSpPr>
        <p:spPr>
          <a:xfrm>
            <a:off x="7142097" y="2379390"/>
            <a:ext cx="570070" cy="3122484"/>
          </a:xfrm>
          <a:prstGeom prst="rightBrac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"/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4EAE260E-BF8D-4EFD-9C20-E5A18EA691A2}"/>
              </a:ext>
            </a:extLst>
          </p:cNvPr>
          <p:cNvSpPr/>
          <p:nvPr/>
        </p:nvSpPr>
        <p:spPr>
          <a:xfrm>
            <a:off x="7498676" y="4731797"/>
            <a:ext cx="2827786" cy="713110"/>
          </a:xfrm>
          <a:prstGeom prst="flowChartProcess">
            <a:avLst/>
          </a:prstGeom>
          <a:solidFill>
            <a:srgbClr val="66B58E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600" b="1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Низкий риск</a:t>
            </a:r>
            <a:r>
              <a:rPr lang="ru-RU" sz="16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- продолжение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283DBB-B472-4773-B804-0A7BE93B07D0}"/>
              </a:ext>
            </a:extLst>
          </p:cNvPr>
          <p:cNvSpPr/>
          <p:nvPr/>
        </p:nvSpPr>
        <p:spPr>
          <a:xfrm>
            <a:off x="325278" y="6304819"/>
            <a:ext cx="1225225" cy="319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/>
          </a:p>
        </p:txBody>
      </p:sp>
    </p:spTree>
    <p:extLst>
      <p:ext uri="{BB962C8B-B14F-4D97-AF65-F5344CB8AC3E}">
        <p14:creationId xmlns:p14="http://schemas.microsoft.com/office/powerpoint/2010/main" val="26681143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10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4.xml><?xml version="1.0" encoding="utf-8"?>
<a:theme xmlns:a="http://schemas.openxmlformats.org/drawingml/2006/main" name="2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5.xml><?xml version="1.0" encoding="utf-8"?>
<a:theme xmlns:a="http://schemas.openxmlformats.org/drawingml/2006/main" name="5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6.xml><?xml version="1.0" encoding="utf-8"?>
<a:theme xmlns:a="http://schemas.openxmlformats.org/drawingml/2006/main" name="6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7.xml><?xml version="1.0" encoding="utf-8"?>
<a:theme xmlns:a="http://schemas.openxmlformats.org/drawingml/2006/main" name="7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8.xml><?xml version="1.0" encoding="utf-8"?>
<a:theme xmlns:a="http://schemas.openxmlformats.org/drawingml/2006/main" name="4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9.xml><?xml version="1.0" encoding="utf-8"?>
<a:theme xmlns:a="http://schemas.openxmlformats.org/drawingml/2006/main" name="3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929A5DE1BB34E241905B28C1CA820844" ma:contentTypeVersion="10" ma:contentTypeDescription="Shell Document Content Type" ma:contentTypeScope="" ma:versionID="e9a39d5f3d79d7a096567744e2bdcd4c">
  <xsd:schema xmlns:xsd="http://www.w3.org/2001/XMLSchema" xmlns:xs="http://www.w3.org/2001/XMLSchema" xmlns:p="http://schemas.microsoft.com/office/2006/metadata/properties" xmlns:ns1="http://schemas.microsoft.com/sharepoint/v3" xmlns:ns2="fd905e99-77dc-46fd-9e74-acbd634bf4a6" xmlns:ns4="http://schemas.microsoft.com/sharepoint/v4" xmlns:ns5="3c37a7ff-313b-443f-9d57-3e9018706f7b" targetNamespace="http://schemas.microsoft.com/office/2006/metadata/properties" ma:root="true" ma:fieldsID="23550e1051a4adb44817fb71feb64ee0" ns1:_="" ns2:_="" ns4:_="" ns5:_="">
    <xsd:import namespace="http://schemas.microsoft.com/sharepoint/v3"/>
    <xsd:import namespace="fd905e99-77dc-46fd-9e74-acbd634bf4a6"/>
    <xsd:import namespace="http://schemas.microsoft.com/sharepoint/v4"/>
    <xsd:import namespace="3c37a7ff-313b-443f-9d57-3e9018706f7b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AEFSecurityClassificationTaxHTField0" minOccurs="0"/>
                <xsd:element ref="ns1:SAEFExportControlClassificationTaxHTField0" minOccurs="0"/>
                <xsd:element ref="ns1:SAEFDocumentStatusTaxHTField0" minOccurs="0"/>
                <xsd:element ref="ns1:SAEFDocumentTypeTaxHTField0" minOccurs="0"/>
                <xsd:element ref="ns1:SAEFOwner" minOccurs="0"/>
                <xsd:element ref="ns1:SAEFBusinessTaxHTField0" minOccurs="0"/>
                <xsd:element ref="ns1:SAEFBusinessUnitRegionTaxHTField0" minOccurs="0"/>
                <xsd:element ref="ns1:SAEFGlobalFunctionTaxHTField0" minOccurs="0"/>
                <xsd:element ref="ns1:SAEFBusinessProcessTaxHTField0" minOccurs="0"/>
                <xsd:element ref="ns1:SAEFLegalEntityTaxHTField0" minOccurs="0"/>
                <xsd:element ref="ns1:SAEFWorkgroupIDTaxHTField0" minOccurs="0"/>
                <xsd:element ref="ns1:SAEFSiteCollectionName"/>
                <xsd:element ref="ns1:SAEFSiteOwner"/>
                <xsd:element ref="ns1:SAEFLanguageTaxHTField0" minOccurs="0"/>
                <xsd:element ref="ns1:SAEFCountryOfJurisdictionTaxHTField0" minOccurs="0"/>
                <xsd:element ref="ns1:SAEFCollection"/>
                <xsd:element ref="ns1:SAEFKeepFileLocal"/>
                <xsd:element ref="ns1:SAEFAssetIdentifier" minOccurs="0"/>
                <xsd:element ref="ns2:TaxCatchAll" minOccurs="0"/>
                <xsd:element ref="ns2:_dlc_DocId" minOccurs="0"/>
                <xsd:element ref="ns2:_dlc_DocIdPersistId" minOccurs="0"/>
                <xsd:element ref="ns1:SAEFFilePlanRecordType" minOccurs="0"/>
                <xsd:element ref="ns1:SAEFRecordStatus" minOccurs="0"/>
                <xsd:element ref="ns1:SAEFDeclarer" minOccurs="0"/>
                <xsd:element ref="ns1:SAEFIsRecord" minOccurs="0"/>
                <xsd:element ref="ns1:SAEFTRIMRecordNumber" minOccurs="0"/>
                <xsd:element ref="ns1:SISProcessesTaxHTField0" minOccurs="0"/>
                <xsd:element ref="ns2:TaxCatchAllLabel" minOccurs="0"/>
                <xsd:element ref="ns4:IconOverlay" minOccurs="0"/>
                <xsd:element ref="ns5:MediaServiceMetadata" minOccurs="0"/>
                <xsd:element ref="ns5:MediaServiceFastMetadata" minOccurs="0"/>
                <xsd:element ref="ns5:Year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SecurityClassificationTaxHTField0" ma:index="3" ma:taxonomy="true" ma:internalName="SAEFSecurityClassificationTaxHTField0" ma:taxonomyFieldName="SAEFSecurityClassification" ma:displayName="Security Classification" ma:default="8;#Unrestricted|a6bcf75a-a979-458c-83c1-40defbdcf8ae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ExportControlClassificationTaxHTField0" ma:index="5" nillable="true" ma:taxonomy="true" ma:internalName="SAEFExportControlClassificationTaxHTField0" ma:taxonomyFieldName="SAEFExportControlClassification" ma:displayName="Export Control" ma:readOnly="false" ma:default="9;#Not Controlled – Publically Available|89b1c954-875b-4f67-a509-f821b1aed745" ma:fieldId="{334f96ae-8e6f-4bca-bd92-9698e8369ad6}" ma:sspId="e3aebf70-341c-4d91-bdd3-aba9df361687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StatusTaxHTField0" ma:index="7" ma:taxonomy="true" ma:internalName="SAEFDocumentStatusTaxHTField0" ma:taxonomyFieldName="SAEFDocumentStatus" ma:displayName="Document Status" ma:default="11;#Draft|1c86f377-7d91-4c95-bd5b-c18c83fe0aa5" ma:fieldId="{627a77c6-2170-43dd-a0ef-eb6a3870ea75}" ma:sspId="e3aebf70-341c-4d91-bdd3-aba9df361687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TypeTaxHTField0" ma:index="9" ma:taxonomy="true" ma:internalName="SAEFDocumentTypeTaxHTField0" ma:taxonomyFieldName="SAEFDocumentType" ma:displayName="Document Type" ma:default="" ma:fieldId="{566fdc14-b4fa-46ee-a88e-e2aac7ad2eac}" ma:sspId="e3aebf70-341c-4d91-bdd3-aba9df361687" ma:termSetId="7c691298-1692-4b08-84ae-f0f5eae5c5b9" ma:anchorId="dd8e969d-52f9-4d5c-bfa6-9303625fff9c" ma:open="false" ma:isKeyword="false">
      <xsd:complexType>
        <xsd:sequence>
          <xsd:element ref="pc:Terms" minOccurs="0" maxOccurs="1"/>
        </xsd:sequence>
      </xsd:complexType>
    </xsd:element>
    <xsd:element name="SAEFOwner" ma:index="12" nillable="true" ma:displayName="Owner" ma:internalName="SAEFOwner">
      <xsd:simpleType>
        <xsd:restriction base="dms:Text"/>
      </xsd:simpleType>
    </xsd:element>
    <xsd:element name="SAEFBusinessTaxHTField0" ma:index="14" ma:taxonomy="true" ma:internalName="SAEFBusinessTaxHTField0" ma:taxonomyFieldName="SAEFBusiness" ma:displayName="Business" ma:default="1;#Downstream|f377c20d-8416-4aff-9c98-676592444d76" ma:fieldId="{0d7acb72-5c17-4ee6-b184-d60d15597f6a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UnitRegionTaxHTField0" ma:index="16" ma:taxonomy="true" ma:internalName="SAEFBusinessUnitRegionTaxHTField0" ma:taxonomyFieldName="SAEFBusinessUnitRegion" ma:displayName="Business Unit/Region" ma:default="2;#Trading|658afb62-d424-4751-9116-5d5d930d7aea" ma:fieldId="{98984985-015b-4079-8918-b5a01b45e4b3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GlobalFunctionTaxHTField0" ma:index="18" ma:taxonomy="true" ma:internalName="SAEFGlobalFunctionTaxHTField0" ma:taxonomyFieldName="SAEFGlobalFunction" ma:displayName="Business Function" ma:default="3;#Not Applicable|ddce64fb-3cb8-4cd9-8e3d-0fe554247fd1" ma:fieldId="{1284211f-8330-48b1-a5cc-ec1f0d9b0f7a}" ma:sspId="e3aebf70-341c-4d91-bdd3-aba9df361687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ProcessTaxHTField0" ma:index="20" nillable="true" ma:taxonomy="true" ma:internalName="SAEFBusinessProcessTaxHTField0" ma:taxonomyFieldName="SAEFBusinessProcess" ma:displayName="Business Process" ma:default="10;#Trading and Shipping|51dcb8a8-ec2e-4d64-847b-6e9c894ad887" ma:fieldId="{f7493bb9-5348-44de-a787-5c9f505950a2}" ma:sspId="e3aebf70-341c-4d91-bdd3-aba9df361687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egalEntityTaxHTField0" ma:index="22" ma:taxonomy="true" ma:internalName="SAEFLegalEntityTaxHTField0" ma:taxonomyFieldName="SAEFLegalEntity" ma:displayName="Legal Entity" ma:default="4;#STASCO|dd9f88f9-e37a-435f-bd2f-e56012b82762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WorkgroupIDTaxHTField0" ma:index="24" ma:taxonomy="true" ma:internalName="SAEFWorkgroupIDTaxHTField0" ma:taxonomyFieldName="SAEFWorkgroupID" ma:displayName="TRIM Workgroup" ma:default="5;#DS_ID_EXTERNAL_AFFAIRS - 14817|1ccab7a1-63aa-4122-ad45-abf66fe9c1ab" ma:fieldId="{c47cabfe-a1bc-4e26-91b8-d95c8ce41647}" ma:sspId="e3aebf70-341c-4d91-bdd3-aba9df361687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SiteCollectionName" ma:index="26" ma:displayName="Site Collection Name" ma:default="Shell LNG Outlook" ma:hidden="true" ma:internalName="SAEFSiteCollectionName">
      <xsd:simpleType>
        <xsd:restriction base="dms:Text"/>
      </xsd:simpleType>
    </xsd:element>
    <xsd:element name="SAEFSiteOwner" ma:index="27" ma:displayName="Site Owner" ma:default="i:0#.w|europe\gbx962-f" ma:hidden="true" ma:internalName="SAEFSiteOwner">
      <xsd:simpleType>
        <xsd:restriction base="dms:Text"/>
      </xsd:simpleType>
    </xsd:element>
    <xsd:element name="SAEFLanguageTaxHTField0" ma:index="28" ma:taxonomy="true" ma:internalName="SAEFLanguageTaxHTField0" ma:taxonomyFieldName="SAEFLanguage" ma:displayName="Language" ma:default="6;#English|bd3ad5ee-f0c3-40aa-8cc8-36ef09940af3" ma:fieldId="{a99e316a-5158-4b34-9a98-5674ef8a1639}" ma:sspId="e3aebf70-341c-4d91-bdd3-aba9df361687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untryOfJurisdictionTaxHTField0" ma:index="30" ma:taxonomy="true" ma:internalName="SAEFCountryOfJurisdictionTaxHTField0" ma:taxonomyFieldName="SAEFCountryOfJurisdiction" ma:displayName="Country of Jurisdiction" ma:default="7;#UNITED KINGDOM|a641b02c-ea62-4b2d-a926-5e7208151dda" ma:fieldId="{dc07035f-7987-48f5-ba88-2d29e2b62c9e}" ma:sspId="e3aebf70-341c-4d91-bdd3-aba9df361687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llection" ma:index="32" ma:displayName="Collection" ma:default="0" ma:hidden="true" ma:internalName="SAEFCollection">
      <xsd:simpleType>
        <xsd:restriction base="dms:Boolean"/>
      </xsd:simpleType>
    </xsd:element>
    <xsd:element name="SAEFKeepFileLocal" ma:index="33" ma:displayName="Keep File Local" ma:default="0" ma:hidden="true" ma:internalName="SAEFKeepFileLocal">
      <xsd:simpleType>
        <xsd:restriction base="dms:Boolean"/>
      </xsd:simpleType>
    </xsd:element>
    <xsd:element name="SAEFAssetIdentifier" ma:index="34" nillable="true" ma:displayName="Asset Identifier" ma:hidden="true" ma:internalName="SAEFAssetIdentifier">
      <xsd:simpleType>
        <xsd:restriction base="dms:Text"/>
      </xsd:simpleType>
    </xsd:element>
    <xsd:element name="SAEFFilePlanRecordType" ma:index="44" nillable="true" ma:displayName="File Plan Record Type" ma:hidden="true" ma:internalName="SAEFFilePlanRecordType">
      <xsd:simpleType>
        <xsd:restriction base="dms:Text"/>
      </xsd:simpleType>
    </xsd:element>
    <xsd:element name="SAEFRecordStatus" ma:index="45" nillable="true" ma:displayName="Record Status" ma:hidden="true" ma:internalName="SAEFRecordStatus">
      <xsd:simpleType>
        <xsd:restriction base="dms:Text"/>
      </xsd:simpleType>
    </xsd:element>
    <xsd:element name="SAEFDeclarer" ma:index="46" nillable="true" ma:displayName="Declarer" ma:hidden="true" ma:internalName="SAEFDeclarer">
      <xsd:simpleType>
        <xsd:restriction base="dms:Text"/>
      </xsd:simpleType>
    </xsd:element>
    <xsd:element name="SAEFIsRecord" ma:index="47" nillable="true" ma:displayName="Is Record" ma:hidden="true" ma:internalName="SAEFIsRecord">
      <xsd:simpleType>
        <xsd:restriction base="dms:Text"/>
      </xsd:simpleType>
    </xsd:element>
    <xsd:element name="SAEFTRIMRecordNumber" ma:index="48" nillable="true" ma:displayName="TRIM Record Number" ma:hidden="true" ma:internalName="SAEFTRIMRecordNumber">
      <xsd:simpleType>
        <xsd:restriction base="dms:Text"/>
      </xsd:simpleType>
    </xsd:element>
    <xsd:element name="SISProcessesTaxHTField0" ma:index="49" nillable="true" ma:taxonomy="true" ma:internalName="SISProcessesTaxHTField0" ma:taxonomyFieldName="SISProcesses" ma:displayName="Processes" ma:default="" ma:fieldId="{7d4e8cf3-4a02-4d82-a0df-794763369415}" ma:sspId="e3aebf70-341c-4d91-bdd3-aba9df361687" ma:termSetId="7c691298-1692-4b08-84ae-f0f5eae5c5b9" ma:anchorId="c7b25b04-d7b9-4315-acca-55d46af09193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905e99-77dc-46fd-9e74-acbd634bf4a6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TaxCatchAll" ma:index="35" nillable="true" ma:displayName="Taxonomy Catch All Column" ma:hidden="true" ma:list="{ec47dfae-a7ae-49e2-bbf3-23d62f491130}" ma:internalName="TaxCatchAll" ma:showField="CatchAllData" ma:web="fd905e99-77dc-46fd-9e74-acbd634bf4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4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Label" ma:index="50" nillable="true" ma:displayName="Taxonomy Catch All Column1" ma:hidden="true" ma:list="{ec47dfae-a7ae-49e2-bbf3-23d62f491130}" ma:internalName="TaxCatchAllLabel" ma:readOnly="true" ma:showField="CatchAllDataLabel" ma:web="fd905e99-77dc-46fd-9e74-acbd634bf4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1" nillable="true" ma:displayName="IconOverlay" ma:hidden="true" ma:internalName="IconOverlay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37a7ff-313b-443f-9d57-3e9018706f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5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Year" ma:index="54" ma:displayName="Year" ma:format="Dropdown" ma:internalName="Year">
      <xsd:simpleType>
        <xsd:restriction base="dms:Choice">
          <xsd:enumeration value="2017"/>
          <xsd:enumeration value="2018"/>
          <xsd:enumeration value="2019"/>
          <xsd:enumeration value="2020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AEFAssetIdentifier xmlns="http://schemas.microsoft.com/sharepoint/v3" xsi:nil="true"/>
    <SAEFIsRecord xmlns="http://schemas.microsoft.com/sharepoint/v3" xsi:nil="true"/>
    <SAEFOwner xmlns="http://schemas.microsoft.com/sharepoint/v3" xsi:nil="true"/>
    <SAEFDeclarer xmlns="http://schemas.microsoft.com/sharepoint/v3" xsi:nil="true"/>
    <SAEF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s [TS]</TermName>
          <TermId xmlns="http://schemas.microsoft.com/office/infopath/2007/PartnerControls">753b8a94-80fe-49f6-8902-6abf6b82c34a</TermId>
        </TermInfo>
      </Terms>
    </SAEFDocumentTypeTaxHTField0>
    <SAEF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AEFLanguageTaxHTField0>
    <SAEFFilePlanRecordType xmlns="http://schemas.microsoft.com/sharepoint/v3" xsi:nil="true"/>
    <IconOverlay xmlns="http://schemas.microsoft.com/sharepoint/v4" xsi:nil="true"/>
    <SAEFCollection xmlns="http://schemas.microsoft.com/sharepoint/v3">false</SAEFCollection>
    <SAEF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pproved</TermName>
          <TermId xmlns="http://schemas.microsoft.com/office/infopath/2007/PartnerControls">83963bcf-013c-479f-9fed-585d0506254b</TermId>
        </TermInfo>
      </Terms>
    </SAEFDocumentStatusTaxHTField0>
    <SAEF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rading and Shipping</TermName>
          <TermId xmlns="http://schemas.microsoft.com/office/infopath/2007/PartnerControls">51dcb8a8-ec2e-4d64-847b-6e9c894ad887</TermId>
        </TermInfo>
      </Terms>
    </SAEFBusinessProcessTaxHTField0>
    <SAEF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ASCO</TermName>
          <TermId xmlns="http://schemas.microsoft.com/office/infopath/2007/PartnerControls">dd9f88f9-e37a-435f-bd2f-e56012b82762</TermId>
        </TermInfo>
      </Terms>
    </SAEFLegalEntityTaxHTField0>
    <SAEFRecordStatus xmlns="http://schemas.microsoft.com/sharepoint/v3" xsi:nil="true"/>
    <SAEFTRIMRecordNumber xmlns="http://schemas.microsoft.com/sharepoint/v3" xsi:nil="true"/>
    <Year xmlns="3c37a7ff-313b-443f-9d57-3e9018706f7b">2018</Year>
    <SAEF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wnstream</TermName>
          <TermId xmlns="http://schemas.microsoft.com/office/infopath/2007/PartnerControls">f377c20d-8416-4aff-9c98-676592444d76</TermId>
        </TermInfo>
      </Terms>
    </SAEFBusinessTaxHTField0>
    <SAEF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Controlled – Publically Available</TermName>
          <TermId xmlns="http://schemas.microsoft.com/office/infopath/2007/PartnerControls">89b1c954-875b-4f67-a509-f821b1aed745</TermId>
        </TermInfo>
      </Terms>
    </SAEFExportControlClassificationTaxHTField0>
    <SAEF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rading</TermName>
          <TermId xmlns="http://schemas.microsoft.com/office/infopath/2007/PartnerControls">658afb62-d424-4751-9116-5d5d930d7aea</TermId>
        </TermInfo>
      </Terms>
    </SAEFBusinessUnitRegionTaxHTField0>
    <SAEF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AEFGlobalFunctionTaxHTField0>
    <SAEF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S_ID_EXTERNAL_AFFAIRS - 14817</TermName>
          <TermId xmlns="http://schemas.microsoft.com/office/infopath/2007/PartnerControls">1ccab7a1-63aa-4122-ad45-abf66fe9c1ab</TermId>
        </TermInfo>
      </Terms>
    </SAEFWorkgroupIDTaxHTField0>
    <SAEF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KINGDOM</TermName>
          <TermId xmlns="http://schemas.microsoft.com/office/infopath/2007/PartnerControls">a641b02c-ea62-4b2d-a926-5e7208151dda</TermId>
        </TermInfo>
      </Terms>
    </SAEFCountryOfJurisdictionTaxHTField0>
    <SAEFKeepFileLocal xmlns="http://schemas.microsoft.com/sharepoint/v3">false</SAEFKeepFileLocal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restricted</TermName>
          <TermId xmlns="http://schemas.microsoft.com/office/infopath/2007/PartnerControls">a6bcf75a-a979-458c-83c1-40defbdcf8ae</TermId>
        </TermInfo>
      </Terms>
    </SAEFSecurityClassificationTaxHTField0>
    <SAEFSiteOwner xmlns="http://schemas.microsoft.com/sharepoint/v3">i:0#.w|europe\gbx962-f</SAEFSiteOwner>
    <SISProcessesTaxHTField0 xmlns="http://schemas.microsoft.com/sharepoint/v3">
      <Terms xmlns="http://schemas.microsoft.com/office/infopath/2007/PartnerControls"/>
    </SISProcessesTaxHTField0>
    <SAEFSiteCollectionName xmlns="http://schemas.microsoft.com/sharepoint/v3">Shell LNG Outlook</SAEFSiteCollectionName>
    <TaxCatchAll xmlns="fd905e99-77dc-46fd-9e74-acbd634bf4a6">
      <Value>14</Value>
      <Value>7</Value>
      <Value>10</Value>
      <Value>9</Value>
      <Value>8</Value>
      <Value>1</Value>
      <Value>6</Value>
      <Value>5</Value>
      <Value>4</Value>
      <Value>3</Value>
      <Value>2</Value>
      <Value>18</Value>
    </TaxCatchAll>
    <_dlc_DocId xmlns="fd905e99-77dc-46fd-9e74-acbd634bf4a6">AAFAA3796-974851921-14</_dlc_DocId>
    <_dlc_DocIdUrl xmlns="fd905e99-77dc-46fd-9e74-acbd634bf4a6">
      <Url>https://eu001-sp.shell.com/sites/AAFAA3796/_layouts/15/DocIdRedir.aspx?ID=AAFAA3796-974851921-14</Url>
      <Description>AAFAA3796-974851921-14</Description>
    </_dlc_DocIdUrl>
  </documentManagement>
</p:properties>
</file>

<file path=customXml/itemProps1.xml><?xml version="1.0" encoding="utf-8"?>
<ds:datastoreItem xmlns:ds="http://schemas.openxmlformats.org/officeDocument/2006/customXml" ds:itemID="{8BCF7A9B-B5A5-49DD-8924-EDD956FA6A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905e99-77dc-46fd-9e74-acbd634bf4a6"/>
    <ds:schemaRef ds:uri="http://schemas.microsoft.com/sharepoint/v4"/>
    <ds:schemaRef ds:uri="3c37a7ff-313b-443f-9d57-3e9018706f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8872E6C-A700-4C21-8EB4-CF20BA8783EA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806198D-0FFD-40A2-A18F-AA04017F194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5C12E84-D4C5-42C7-9B42-D521FF1BC388}">
  <ds:schemaRefs>
    <ds:schemaRef ds:uri="http://purl.org/dc/dcmitype/"/>
    <ds:schemaRef ds:uri="http://schemas.microsoft.com/office/2006/metadata/properties"/>
    <ds:schemaRef ds:uri="http://schemas.microsoft.com/sharepoint/v4"/>
    <ds:schemaRef ds:uri="http://schemas.microsoft.com/office/2006/documentManagement/types"/>
    <ds:schemaRef ds:uri="http://purl.org/dc/terms/"/>
    <ds:schemaRef ds:uri="3c37a7ff-313b-443f-9d57-3e9018706f7b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fd905e99-77dc-46fd-9e74-acbd634bf4a6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nscreen;2057;Pos1;Date1;Widescreen Shell template - 16x9</Template>
  <TotalTime>20</TotalTime>
  <Words>1517</Words>
  <Application>Microsoft Office PowerPoint</Application>
  <PresentationFormat>Widescreen</PresentationFormat>
  <Paragraphs>186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Futura Bold</vt:lpstr>
      <vt:lpstr>ヒラギノ角ゴ Pro W3</vt:lpstr>
      <vt:lpstr>Calibri Light</vt:lpstr>
      <vt:lpstr>Calibri</vt:lpstr>
      <vt:lpstr>Futura Medium</vt:lpstr>
      <vt:lpstr>Wingdings</vt:lpstr>
      <vt:lpstr>Arial</vt:lpstr>
      <vt:lpstr>Shell layouts with footer</vt:lpstr>
      <vt:lpstr>Custom Design</vt:lpstr>
      <vt:lpstr>1_Shell layouts with footer</vt:lpstr>
      <vt:lpstr>2_Shell layouts with footer</vt:lpstr>
      <vt:lpstr>5_Shell layouts with footer</vt:lpstr>
      <vt:lpstr>6_Shell layouts with footer</vt:lpstr>
      <vt:lpstr>7_Shell layouts with footer</vt:lpstr>
      <vt:lpstr>4_Shell layouts with footer</vt:lpstr>
      <vt:lpstr>3_Shell layouts with footer</vt:lpstr>
      <vt:lpstr>think-cell Slide</vt:lpstr>
      <vt:lpstr>Проект «Балтийский СПГ»</vt:lpstr>
      <vt:lpstr>«Балтийский СПГ» - конкурентоспособный проект</vt:lpstr>
      <vt:lpstr>Гармонизация стандартов для совместных проектов (корпоративный уровень)  </vt:lpstr>
      <vt:lpstr>Проект «Балтийский СПГ» – основные сложности при осуществлении локализации</vt:lpstr>
      <vt:lpstr>Использование уже производимого в России и локализованного оборудования</vt:lpstr>
      <vt:lpstr>Совместная квалификация российских поставщиков</vt:lpstr>
      <vt:lpstr>Стратегия локализации - проект "Балтийский СПГ", РФ</vt:lpstr>
      <vt:lpstr>Критерии оценки оборудования и материалов по уровню критичности</vt:lpstr>
      <vt:lpstr>Аттестация поставщиков – своевременность проведения гарантирует возможности для развития</vt:lpstr>
      <vt:lpstr>Программа аттестации, развития потенциала и аккредитации поставщиков</vt:lpstr>
      <vt:lpstr>Новаторский подход к подбору (закупке) оборудования и материалов для завода СПГ в РФ </vt:lpstr>
      <vt:lpstr>Стимулирование коммерческой составляющей – вопросы ценообразования и качества</vt:lpstr>
      <vt:lpstr>Первые совместные аудиты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8 Shell LNG Outlook PPT</dc:title>
  <dc:creator>Shoob, Maxim SEPSR-ERIG/R</dc:creator>
  <cp:lastModifiedBy>Chasovskikh, Victoria SEPSR-IGR/R</cp:lastModifiedBy>
  <cp:revision>960</cp:revision>
  <cp:lastPrinted>2018-09-26T08:19:07Z</cp:lastPrinted>
  <dcterms:created xsi:type="dcterms:W3CDTF">2017-11-15T10:00:19Z</dcterms:created>
  <dcterms:modified xsi:type="dcterms:W3CDTF">2018-10-03T09:44:34Z</dcterms:modified>
  <cp:category>Shell_IC: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6F0A470EEB1140E7AA14F4CE8A50B54C0001CB1477F4DD432AA86DD56CC3887AF400929A5DE1BB34E241905B28C1CA820844</vt:lpwstr>
  </property>
  <property fmtid="{D5CDD505-2E9C-101B-9397-08002B2CF9AE}" pid="5" name="_dlc_DocIdItemGuid">
    <vt:lpwstr>2169994c-d5cb-4e36-bef6-b0ad66e01534</vt:lpwstr>
  </property>
  <property fmtid="{D5CDD505-2E9C-101B-9397-08002B2CF9AE}" pid="6" name="SAEFExportControlClassification">
    <vt:lpwstr>9;#Not Controlled – Publically Available|89b1c954-875b-4f67-a509-f821b1aed745</vt:lpwstr>
  </property>
  <property fmtid="{D5CDD505-2E9C-101B-9397-08002B2CF9AE}" pid="7" name="SAEFWorkgroupID">
    <vt:lpwstr>5;#DS_ID_EXTERNAL_AFFAIRS - 14817|1ccab7a1-63aa-4122-ad45-abf66fe9c1ab</vt:lpwstr>
  </property>
  <property fmtid="{D5CDD505-2E9C-101B-9397-08002B2CF9AE}" pid="8" name="SAEFDocumentStatus">
    <vt:lpwstr>18;#Approved|83963bcf-013c-479f-9fed-585d0506254b</vt:lpwstr>
  </property>
  <property fmtid="{D5CDD505-2E9C-101B-9397-08002B2CF9AE}" pid="9" name="SAEFBusinessUnitRegion">
    <vt:lpwstr>2;#Trading|658afb62-d424-4751-9116-5d5d930d7aea</vt:lpwstr>
  </property>
  <property fmtid="{D5CDD505-2E9C-101B-9397-08002B2CF9AE}" pid="10" name="SAEFCountryOfJurisdiction">
    <vt:lpwstr>7;#UNITED KINGDOM|a641b02c-ea62-4b2d-a926-5e7208151dda</vt:lpwstr>
  </property>
  <property fmtid="{D5CDD505-2E9C-101B-9397-08002B2CF9AE}" pid="11" name="SAEFDocumentType">
    <vt:lpwstr>14;#Presentations [TS]|753b8a94-80fe-49f6-8902-6abf6b82c34a</vt:lpwstr>
  </property>
  <property fmtid="{D5CDD505-2E9C-101B-9397-08002B2CF9AE}" pid="12" name="SAEFLanguage">
    <vt:lpwstr>6;#English|bd3ad5ee-f0c3-40aa-8cc8-36ef09940af3</vt:lpwstr>
  </property>
  <property fmtid="{D5CDD505-2E9C-101B-9397-08002B2CF9AE}" pid="13" name="SAEFSecurityClassification">
    <vt:lpwstr>8;#Unrestricted|a6bcf75a-a979-458c-83c1-40defbdcf8ae</vt:lpwstr>
  </property>
  <property fmtid="{D5CDD505-2E9C-101B-9397-08002B2CF9AE}" pid="14" name="SISProcesses">
    <vt:lpwstr/>
  </property>
  <property fmtid="{D5CDD505-2E9C-101B-9397-08002B2CF9AE}" pid="15" name="SAEFBusiness">
    <vt:lpwstr>1;#Downstream|f377c20d-8416-4aff-9c98-676592444d76</vt:lpwstr>
  </property>
  <property fmtid="{D5CDD505-2E9C-101B-9397-08002B2CF9AE}" pid="16" name="SAEFBusinessProcess">
    <vt:lpwstr>10;#Trading and Shipping|51dcb8a8-ec2e-4d64-847b-6e9c894ad887</vt:lpwstr>
  </property>
  <property fmtid="{D5CDD505-2E9C-101B-9397-08002B2CF9AE}" pid="17" name="SAEFGlobalFunction">
    <vt:lpwstr>3;#Not Applicable|ddce64fb-3cb8-4cd9-8e3d-0fe554247fd1</vt:lpwstr>
  </property>
  <property fmtid="{D5CDD505-2E9C-101B-9397-08002B2CF9AE}" pid="18" name="SAEFLegalEntity">
    <vt:lpwstr>4;#STASCO|dd9f88f9-e37a-435f-bd2f-e56012b82762</vt:lpwstr>
  </property>
</Properties>
</file>